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sldIdLst>
    <p:sldId id="469" r:id="rId2"/>
    <p:sldId id="452" r:id="rId3"/>
    <p:sldId id="470" r:id="rId4"/>
    <p:sldId id="486" r:id="rId5"/>
    <p:sldId id="471" r:id="rId6"/>
    <p:sldId id="482" r:id="rId7"/>
    <p:sldId id="483" r:id="rId8"/>
    <p:sldId id="485" r:id="rId9"/>
    <p:sldId id="478" r:id="rId10"/>
    <p:sldId id="479" r:id="rId11"/>
    <p:sldId id="480" r:id="rId12"/>
    <p:sldId id="481" r:id="rId13"/>
    <p:sldId id="468" r:id="rId14"/>
  </p:sldIdLst>
  <p:sldSz cx="12192000" cy="6858000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73" userDrawn="1">
          <p15:clr>
            <a:srgbClr val="A4A3A4"/>
          </p15:clr>
        </p15:guide>
        <p15:guide id="2" orient="horz" pos="754" userDrawn="1">
          <p15:clr>
            <a:srgbClr val="A4A3A4"/>
          </p15:clr>
        </p15:guide>
        <p15:guide id="3" orient="horz" pos="4133" userDrawn="1">
          <p15:clr>
            <a:srgbClr val="A4A3A4"/>
          </p15:clr>
        </p15:guide>
        <p15:guide id="4" pos="393" userDrawn="1">
          <p15:clr>
            <a:srgbClr val="A4A3A4"/>
          </p15:clr>
        </p15:guide>
        <p15:guide id="5" pos="7491" userDrawn="1">
          <p15:clr>
            <a:srgbClr val="A4A3A4"/>
          </p15:clr>
        </p15:guide>
        <p15:guide id="6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Ли Зоя Анатольевна" initials="ЛЗА" lastIdx="1" clrIdx="0">
    <p:extLst>
      <p:ext uri="{19B8F6BF-5375-455C-9EA6-DF929625EA0E}">
        <p15:presenceInfo xmlns:p15="http://schemas.microsoft.com/office/powerpoint/2012/main" userId="S-1-5-21-4173327269-1302852069-987730624-66560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A64A9"/>
    <a:srgbClr val="00529F"/>
    <a:srgbClr val="73BBFF"/>
    <a:srgbClr val="0A549D"/>
    <a:srgbClr val="FFFFFF"/>
    <a:srgbClr val="3A75B0"/>
    <a:srgbClr val="355DAF"/>
    <a:srgbClr val="ADB5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2253" autoAdjust="0"/>
    <p:restoredTop sz="94660"/>
  </p:normalViewPr>
  <p:slideViewPr>
    <p:cSldViewPr snapToGrid="0">
      <p:cViewPr varScale="1">
        <p:scale>
          <a:sx n="112" d="100"/>
          <a:sy n="112" d="100"/>
        </p:scale>
        <p:origin x="132" y="174"/>
      </p:cViewPr>
      <p:guideLst>
        <p:guide orient="horz" pos="2273"/>
        <p:guide orient="horz" pos="754"/>
        <p:guide orient="horz" pos="4133"/>
        <p:guide pos="393"/>
        <p:guide pos="7491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40" d="100"/>
        <a:sy n="4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39482C-0FE9-43AF-8E91-59778FF96C73}" type="datetimeFigureOut">
              <a:rPr lang="ru-RU" smtClean="0"/>
              <a:t>26.03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C52A2F-6EA6-4348-BFF1-A2FF359AB12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301969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Relationship Id="rId9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5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6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084D2-ED47-469D-8B97-EF0B8439F919}" type="datetimeFigureOut">
              <a:rPr lang="ru-RU" smtClean="0"/>
              <a:t>26.03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3403A3-A70B-41EC-A409-342DBEA5E4F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982759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084D2-ED47-469D-8B97-EF0B8439F919}" type="datetimeFigureOut">
              <a:rPr lang="ru-RU" smtClean="0"/>
              <a:t>26.03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3403A3-A70B-41EC-A409-342DBEA5E4F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513909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084D2-ED47-469D-8B97-EF0B8439F919}" type="datetimeFigureOut">
              <a:rPr lang="ru-RU" smtClean="0"/>
              <a:t>26.03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3403A3-A70B-41EC-A409-342DBEA5E4F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564539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8" name="Слайд think-cell" r:id="rId6" imgW="352" imgH="355" progId="TCLayout.ActiveDocument.1">
                  <p:embed/>
                </p:oleObj>
              </mc:Choice>
              <mc:Fallback>
                <p:oleObj name="Слайд think-cell" r:id="rId6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FFFFF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rgbClr val="FFFFFF">
                  <a:lumMod val="50000"/>
                </a:srgb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1667508" y="124251"/>
            <a:ext cx="9895842" cy="332399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318_Meeting_CEO_3.pptx</a:t>
            </a:r>
            <a:endParaRPr lang="en-US" sz="700" dirty="0">
              <a:solidFill>
                <a:srgbClr val="FFFFFF">
                  <a:lumMod val="50000"/>
                </a:srgb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01" y="92071"/>
            <a:ext cx="817800" cy="39676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0"/>
            <a:ext cx="37848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7286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16" name="Object 1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5279185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31" t="8741" r="102" b="27"/>
          <a:stretch/>
        </p:blipFill>
        <p:spPr>
          <a:xfrm rot="16200000" flipH="1">
            <a:off x="8471923" y="1973272"/>
            <a:ext cx="580573" cy="685800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5276850"/>
          </a:xfrm>
          <a:custGeom>
            <a:avLst/>
            <a:gdLst>
              <a:gd name="connsiteX0" fmla="*/ 0 w 12192000"/>
              <a:gd name="connsiteY0" fmla="*/ 0 h 5276850"/>
              <a:gd name="connsiteX1" fmla="*/ 12192000 w 12192000"/>
              <a:gd name="connsiteY1" fmla="*/ 0 h 5276850"/>
              <a:gd name="connsiteX2" fmla="*/ 12192000 w 12192000"/>
              <a:gd name="connsiteY2" fmla="*/ 5276850 h 5276850"/>
              <a:gd name="connsiteX3" fmla="*/ 0 w 12192000"/>
              <a:gd name="connsiteY3" fmla="*/ 5276850 h 5276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5276850">
                <a:moveTo>
                  <a:pt x="0" y="0"/>
                </a:moveTo>
                <a:lnTo>
                  <a:pt x="12192000" y="0"/>
                </a:lnTo>
                <a:lnTo>
                  <a:pt x="12192000" y="5276850"/>
                </a:lnTo>
                <a:lnTo>
                  <a:pt x="0" y="5276850"/>
                </a:lnTo>
                <a:close/>
              </a:path>
            </a:pathLst>
          </a:custGeom>
        </p:spPr>
      </p:pic>
      <p:sp>
        <p:nvSpPr>
          <p:cNvPr id="20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9366562" y="5570644"/>
            <a:ext cx="1867935" cy="896833"/>
          </a:xfrm>
          <a:prstGeom prst="rect">
            <a:avLst/>
          </a:prstGeom>
        </p:spPr>
        <p:txBody>
          <a:bodyPr anchor="b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21" name="Rectangle 20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solidFill>
            <a:srgbClr val="00519F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957600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rgbClr val="6E6F73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594" indent="0" algn="ctr">
              <a:buNone/>
              <a:defRPr/>
            </a:lvl4pPr>
            <a:lvl5pPr marL="457189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957600" y="5495708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957600" y="1886244"/>
            <a:ext cx="6868800" cy="313842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</p:spTree>
    <p:extLst>
      <p:ext uri="{BB962C8B-B14F-4D97-AF65-F5344CB8AC3E}">
        <p14:creationId xmlns:p14="http://schemas.microsoft.com/office/powerpoint/2010/main" val="2070110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20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4968F32-EE3F-4F08-8446-B7B2005DF3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0"/>
          </a:xfrm>
          <a:prstGeom prst="rect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98" b="0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2" y="3922563"/>
            <a:ext cx="5133975" cy="968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99"/>
              </a:spcAft>
            </a:pPr>
            <a:r>
              <a:rPr lang="en-US" sz="699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1" y="5117951"/>
            <a:ext cx="2743200" cy="968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99"/>
              </a:spcAft>
            </a:pPr>
            <a:r>
              <a:rPr lang="ru-RU" sz="699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191217-ПР_Концепция ГЭПС_2.</a:t>
            </a:r>
            <a:r>
              <a:rPr lang="en-US" sz="699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ptx</a:t>
            </a:r>
            <a:endParaRPr lang="en-US" sz="699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5CD92AB2-2654-BD48-A034-29C16B6331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5022" y="370932"/>
            <a:ext cx="10933351" cy="4154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defRPr sz="3000">
                <a:latin typeface="Roboto Bold"/>
                <a:ea typeface="Roboto Bold"/>
                <a:cs typeface="Roboto Bold"/>
                <a:sym typeface="Roboto Bold"/>
              </a:defRPr>
            </a:pPr>
            <a:endParaRPr lang="ru-RU" b="1" dirty="0">
              <a:solidFill>
                <a:srgbClr val="1937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214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080146" y="6404293"/>
            <a:ext cx="273654" cy="269239"/>
          </a:xfrm>
          <a:prstGeom prst="rect">
            <a:avLst/>
          </a:prstGeom>
        </p:spPr>
        <p:txBody>
          <a:bodyPr/>
          <a:lstStyle>
            <a:lvl1pPr algn="r" defTabSz="914400">
              <a:defRPr sz="1200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38142835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084D2-ED47-469D-8B97-EF0B8439F919}" type="datetimeFigureOut">
              <a:rPr lang="ru-RU" smtClean="0"/>
              <a:t>26.03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3403A3-A70B-41EC-A409-342DBEA5E4F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068945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084D2-ED47-469D-8B97-EF0B8439F919}" type="datetimeFigureOut">
              <a:rPr lang="ru-RU" smtClean="0"/>
              <a:t>26.03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3403A3-A70B-41EC-A409-342DBEA5E4F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04202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084D2-ED47-469D-8B97-EF0B8439F919}" type="datetimeFigureOut">
              <a:rPr lang="ru-RU" smtClean="0"/>
              <a:t>26.03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3403A3-A70B-41EC-A409-342DBEA5E4F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127226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084D2-ED47-469D-8B97-EF0B8439F919}" type="datetimeFigureOut">
              <a:rPr lang="ru-RU" smtClean="0"/>
              <a:t>26.03.202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3403A3-A70B-41EC-A409-342DBEA5E4F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60564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084D2-ED47-469D-8B97-EF0B8439F919}" type="datetimeFigureOut">
              <a:rPr lang="ru-RU" smtClean="0"/>
              <a:t>26.03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3403A3-A70B-41EC-A409-342DBEA5E4F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64672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084D2-ED47-469D-8B97-EF0B8439F919}" type="datetimeFigureOut">
              <a:rPr lang="ru-RU" smtClean="0"/>
              <a:t>26.03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3403A3-A70B-41EC-A409-342DBEA5E4F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84887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084D2-ED47-469D-8B97-EF0B8439F919}" type="datetimeFigureOut">
              <a:rPr lang="ru-RU" smtClean="0"/>
              <a:t>26.03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3403A3-A70B-41EC-A409-342DBEA5E4F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701684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084D2-ED47-469D-8B97-EF0B8439F919}" type="datetimeFigureOut">
              <a:rPr lang="ru-RU" smtClean="0"/>
              <a:t>26.03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3403A3-A70B-41EC-A409-342DBEA5E4F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26929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E084D2-ED47-469D-8B97-EF0B8439F919}" type="datetimeFigureOut">
              <a:rPr lang="ru-RU" smtClean="0"/>
              <a:t>26.03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3403A3-A70B-41EC-A409-342DBEA5E4F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369078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3" r:id="rId13"/>
    <p:sldLayoutId id="2147483664" r:id="rId14"/>
    <p:sldLayoutId id="2147483665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microsoft.com/office/2007/relationships/hdphoto" Target="../media/hdphoto1.wdp"/><Relationship Id="rId7" Type="http://schemas.openxmlformats.org/officeDocument/2006/relationships/image" Target="../media/image11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0.png"/><Relationship Id="rId5" Type="http://schemas.microsoft.com/office/2007/relationships/hdphoto" Target="../media/hdphoto2.wdp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ru-RU" sz="5000" b="1" kern="0" dirty="0" smtClean="0">
                <a:solidFill>
                  <a:srgbClr val="FFFFFF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  <a:sym typeface="Roboto Regular"/>
              </a:rPr>
              <a:t>Опросы -</a:t>
            </a:r>
            <a:r>
              <a:rPr lang="en-US" sz="5000" b="1" kern="0" dirty="0" smtClean="0">
                <a:solidFill>
                  <a:srgbClr val="FFFFFF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  <a:sym typeface="Roboto Regular"/>
              </a:rPr>
              <a:t/>
            </a:r>
            <a:br>
              <a:rPr lang="en-US" sz="5000" b="1" kern="0" dirty="0" smtClean="0">
                <a:solidFill>
                  <a:srgbClr val="FFFFFF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  <a:sym typeface="Roboto Regular"/>
              </a:rPr>
            </a:br>
            <a:r>
              <a:rPr lang="ru-RU" sz="5000" b="1" kern="0" dirty="0" smtClean="0">
                <a:solidFill>
                  <a:srgbClr val="FFFFFF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  <a:sym typeface="Roboto Regular"/>
              </a:rPr>
              <a:t>сбор </a:t>
            </a:r>
            <a:r>
              <a:rPr lang="ru-RU" sz="5000" b="1" kern="0" dirty="0">
                <a:solidFill>
                  <a:srgbClr val="FFFFFF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  <a:sym typeface="Roboto Regular"/>
              </a:rPr>
              <a:t>первичной информации о целевой аудитории</a:t>
            </a:r>
            <a:br>
              <a:rPr lang="ru-RU" sz="5000" b="1" kern="0" dirty="0">
                <a:solidFill>
                  <a:srgbClr val="FFFFFF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  <a:sym typeface="Roboto Regular"/>
              </a:rPr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34763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 txBox="1">
            <a:spLocks/>
          </p:cNvSpPr>
          <p:nvPr/>
        </p:nvSpPr>
        <p:spPr>
          <a:xfrm>
            <a:off x="4215161" y="324987"/>
            <a:ext cx="7805854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kern="1200">
                <a:solidFill>
                  <a:schemeClr val="accent4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r>
              <a:rPr lang="ru-RU" sz="2400" b="1" dirty="0" smtClean="0">
                <a:solidFill>
                  <a:srgbClr val="0052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ведение социальных опросов позволит вам:</a:t>
            </a:r>
            <a:endParaRPr lang="ru-RU" sz="2400" b="1" dirty="0">
              <a:solidFill>
                <a:srgbClr val="00529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Полилиния 17"/>
          <p:cNvSpPr/>
          <p:nvPr/>
        </p:nvSpPr>
        <p:spPr>
          <a:xfrm>
            <a:off x="4215161" y="1950296"/>
            <a:ext cx="7509277" cy="694598"/>
          </a:xfrm>
          <a:custGeom>
            <a:avLst/>
            <a:gdLst>
              <a:gd name="connsiteX0" fmla="*/ 0 w 3677755"/>
              <a:gd name="connsiteY0" fmla="*/ 192663 h 1155956"/>
              <a:gd name="connsiteX1" fmla="*/ 192663 w 3677755"/>
              <a:gd name="connsiteY1" fmla="*/ 0 h 1155956"/>
              <a:gd name="connsiteX2" fmla="*/ 3485092 w 3677755"/>
              <a:gd name="connsiteY2" fmla="*/ 0 h 1155956"/>
              <a:gd name="connsiteX3" fmla="*/ 3677755 w 3677755"/>
              <a:gd name="connsiteY3" fmla="*/ 192663 h 1155956"/>
              <a:gd name="connsiteX4" fmla="*/ 3677755 w 3677755"/>
              <a:gd name="connsiteY4" fmla="*/ 963293 h 1155956"/>
              <a:gd name="connsiteX5" fmla="*/ 3485092 w 3677755"/>
              <a:gd name="connsiteY5" fmla="*/ 1155956 h 1155956"/>
              <a:gd name="connsiteX6" fmla="*/ 192663 w 3677755"/>
              <a:gd name="connsiteY6" fmla="*/ 1155956 h 1155956"/>
              <a:gd name="connsiteX7" fmla="*/ 0 w 3677755"/>
              <a:gd name="connsiteY7" fmla="*/ 963293 h 1155956"/>
              <a:gd name="connsiteX8" fmla="*/ 0 w 3677755"/>
              <a:gd name="connsiteY8" fmla="*/ 192663 h 1155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677755" h="1155956">
                <a:moveTo>
                  <a:pt x="0" y="192663"/>
                </a:moveTo>
                <a:cubicBezTo>
                  <a:pt x="0" y="86258"/>
                  <a:pt x="86258" y="0"/>
                  <a:pt x="192663" y="0"/>
                </a:cubicBezTo>
                <a:lnTo>
                  <a:pt x="3485092" y="0"/>
                </a:lnTo>
                <a:cubicBezTo>
                  <a:pt x="3591497" y="0"/>
                  <a:pt x="3677755" y="86258"/>
                  <a:pt x="3677755" y="192663"/>
                </a:cubicBezTo>
                <a:lnTo>
                  <a:pt x="3677755" y="963293"/>
                </a:lnTo>
                <a:cubicBezTo>
                  <a:pt x="3677755" y="1069698"/>
                  <a:pt x="3591497" y="1155956"/>
                  <a:pt x="3485092" y="1155956"/>
                </a:cubicBezTo>
                <a:lnTo>
                  <a:pt x="192663" y="1155956"/>
                </a:lnTo>
                <a:cubicBezTo>
                  <a:pt x="86258" y="1155956"/>
                  <a:pt x="0" y="1069698"/>
                  <a:pt x="0" y="963293"/>
                </a:cubicBezTo>
                <a:lnTo>
                  <a:pt x="0" y="192663"/>
                </a:lnTo>
                <a:close/>
              </a:path>
            </a:pathLst>
          </a:custGeom>
          <a:solidFill>
            <a:sysClr val="window" lastClr="FFFFFF"/>
          </a:solidFill>
          <a:ln w="10795" cap="flat" cmpd="sng" algn="ctr">
            <a:noFill/>
            <a:prstDash val="solid"/>
          </a:ln>
          <a:effectLst/>
        </p:spPr>
        <p:txBody>
          <a:bodyPr spcFirstLastPara="0" vert="horz" wrap="square" lIns="105959" tIns="105959" rIns="105959" bIns="105959" numCol="1" spcCol="1270" anchor="ctr" anchorCtr="0">
            <a:noAutofit/>
          </a:bodyPr>
          <a:lstStyle/>
          <a:p>
            <a:pPr lvl="0" defTabSz="57785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kumimoji="0" lang="ru-RU" sz="140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r>
              <a:rPr lang="ru-RU" sz="1400" kern="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ru-RU" sz="1400" kern="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обеспечить </a:t>
            </a:r>
            <a:r>
              <a:rPr lang="ru-RU" sz="1400" kern="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выявительный характер нуждающихся в </a:t>
            </a:r>
            <a:r>
              <a:rPr lang="ru-RU" sz="1400" kern="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социальной помощи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Roboto Regular"/>
            </a:endParaRPr>
          </a:p>
        </p:txBody>
      </p:sp>
      <p:sp>
        <p:nvSpPr>
          <p:cNvPr id="19" name="Полилиния 18"/>
          <p:cNvSpPr/>
          <p:nvPr/>
        </p:nvSpPr>
        <p:spPr>
          <a:xfrm>
            <a:off x="4215160" y="4203097"/>
            <a:ext cx="7735324" cy="659032"/>
          </a:xfrm>
          <a:custGeom>
            <a:avLst/>
            <a:gdLst>
              <a:gd name="connsiteX0" fmla="*/ 0 w 3677755"/>
              <a:gd name="connsiteY0" fmla="*/ 192663 h 1155956"/>
              <a:gd name="connsiteX1" fmla="*/ 192663 w 3677755"/>
              <a:gd name="connsiteY1" fmla="*/ 0 h 1155956"/>
              <a:gd name="connsiteX2" fmla="*/ 3485092 w 3677755"/>
              <a:gd name="connsiteY2" fmla="*/ 0 h 1155956"/>
              <a:gd name="connsiteX3" fmla="*/ 3677755 w 3677755"/>
              <a:gd name="connsiteY3" fmla="*/ 192663 h 1155956"/>
              <a:gd name="connsiteX4" fmla="*/ 3677755 w 3677755"/>
              <a:gd name="connsiteY4" fmla="*/ 963293 h 1155956"/>
              <a:gd name="connsiteX5" fmla="*/ 3485092 w 3677755"/>
              <a:gd name="connsiteY5" fmla="*/ 1155956 h 1155956"/>
              <a:gd name="connsiteX6" fmla="*/ 192663 w 3677755"/>
              <a:gd name="connsiteY6" fmla="*/ 1155956 h 1155956"/>
              <a:gd name="connsiteX7" fmla="*/ 0 w 3677755"/>
              <a:gd name="connsiteY7" fmla="*/ 963293 h 1155956"/>
              <a:gd name="connsiteX8" fmla="*/ 0 w 3677755"/>
              <a:gd name="connsiteY8" fmla="*/ 192663 h 1155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677755" h="1155956">
                <a:moveTo>
                  <a:pt x="0" y="192663"/>
                </a:moveTo>
                <a:cubicBezTo>
                  <a:pt x="0" y="86258"/>
                  <a:pt x="86258" y="0"/>
                  <a:pt x="192663" y="0"/>
                </a:cubicBezTo>
                <a:lnTo>
                  <a:pt x="3485092" y="0"/>
                </a:lnTo>
                <a:cubicBezTo>
                  <a:pt x="3591497" y="0"/>
                  <a:pt x="3677755" y="86258"/>
                  <a:pt x="3677755" y="192663"/>
                </a:cubicBezTo>
                <a:lnTo>
                  <a:pt x="3677755" y="963293"/>
                </a:lnTo>
                <a:cubicBezTo>
                  <a:pt x="3677755" y="1069698"/>
                  <a:pt x="3591497" y="1155956"/>
                  <a:pt x="3485092" y="1155956"/>
                </a:cubicBezTo>
                <a:lnTo>
                  <a:pt x="192663" y="1155956"/>
                </a:lnTo>
                <a:cubicBezTo>
                  <a:pt x="86258" y="1155956"/>
                  <a:pt x="0" y="1069698"/>
                  <a:pt x="0" y="963293"/>
                </a:cubicBezTo>
                <a:lnTo>
                  <a:pt x="0" y="192663"/>
                </a:lnTo>
                <a:close/>
              </a:path>
            </a:pathLst>
          </a:custGeom>
          <a:solidFill>
            <a:sysClr val="window" lastClr="FFFFFF"/>
          </a:solidFill>
          <a:ln w="10795" cap="flat" cmpd="sng" algn="ctr">
            <a:noFill/>
            <a:prstDash val="solid"/>
          </a:ln>
          <a:effectLst/>
        </p:spPr>
        <p:txBody>
          <a:bodyPr spcFirstLastPara="0" vert="horz" wrap="square" lIns="121199" tIns="121199" rIns="121199" bIns="121199" numCol="1" spcCol="1270" anchor="ctr" anchorCtr="0">
            <a:noAutofit/>
          </a:bodyPr>
          <a:lstStyle/>
          <a:p>
            <a:pPr marL="0" marR="0" lvl="0" indent="0" defTabSz="755650" eaLnBrk="1" fontAlgn="auto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Roboto Regular"/>
              </a:rPr>
              <a:t> </a:t>
            </a:r>
            <a:r>
              <a:rPr lang="ru-RU" sz="1400" kern="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Roboto Regular"/>
              </a:rPr>
              <a:t>выявить</a:t>
            </a: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Roboto Regular"/>
              </a:rPr>
              <a:t> категории 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Roboto Regular"/>
              </a:rPr>
              <a:t>граждан, </a:t>
            </a: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Roboto Regular"/>
              </a:rPr>
              <a:t>готовых пользоваться социальными услугами на платной основе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Roboto Regular"/>
            </a:endParaRPr>
          </a:p>
        </p:txBody>
      </p:sp>
      <p:sp>
        <p:nvSpPr>
          <p:cNvPr id="20" name="Полилиния 19"/>
          <p:cNvSpPr/>
          <p:nvPr/>
        </p:nvSpPr>
        <p:spPr>
          <a:xfrm>
            <a:off x="4215161" y="3294837"/>
            <a:ext cx="7509277" cy="898449"/>
          </a:xfrm>
          <a:custGeom>
            <a:avLst/>
            <a:gdLst>
              <a:gd name="connsiteX0" fmla="*/ 0 w 3677755"/>
              <a:gd name="connsiteY0" fmla="*/ 192663 h 1155956"/>
              <a:gd name="connsiteX1" fmla="*/ 192663 w 3677755"/>
              <a:gd name="connsiteY1" fmla="*/ 0 h 1155956"/>
              <a:gd name="connsiteX2" fmla="*/ 3485092 w 3677755"/>
              <a:gd name="connsiteY2" fmla="*/ 0 h 1155956"/>
              <a:gd name="connsiteX3" fmla="*/ 3677755 w 3677755"/>
              <a:gd name="connsiteY3" fmla="*/ 192663 h 1155956"/>
              <a:gd name="connsiteX4" fmla="*/ 3677755 w 3677755"/>
              <a:gd name="connsiteY4" fmla="*/ 963293 h 1155956"/>
              <a:gd name="connsiteX5" fmla="*/ 3485092 w 3677755"/>
              <a:gd name="connsiteY5" fmla="*/ 1155956 h 1155956"/>
              <a:gd name="connsiteX6" fmla="*/ 192663 w 3677755"/>
              <a:gd name="connsiteY6" fmla="*/ 1155956 h 1155956"/>
              <a:gd name="connsiteX7" fmla="*/ 0 w 3677755"/>
              <a:gd name="connsiteY7" fmla="*/ 963293 h 1155956"/>
              <a:gd name="connsiteX8" fmla="*/ 0 w 3677755"/>
              <a:gd name="connsiteY8" fmla="*/ 192663 h 1155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677755" h="1155956">
                <a:moveTo>
                  <a:pt x="0" y="192663"/>
                </a:moveTo>
                <a:cubicBezTo>
                  <a:pt x="0" y="86258"/>
                  <a:pt x="86258" y="0"/>
                  <a:pt x="192663" y="0"/>
                </a:cubicBezTo>
                <a:lnTo>
                  <a:pt x="3485092" y="0"/>
                </a:lnTo>
                <a:cubicBezTo>
                  <a:pt x="3591497" y="0"/>
                  <a:pt x="3677755" y="86258"/>
                  <a:pt x="3677755" y="192663"/>
                </a:cubicBezTo>
                <a:lnTo>
                  <a:pt x="3677755" y="963293"/>
                </a:lnTo>
                <a:cubicBezTo>
                  <a:pt x="3677755" y="1069698"/>
                  <a:pt x="3591497" y="1155956"/>
                  <a:pt x="3485092" y="1155956"/>
                </a:cubicBezTo>
                <a:lnTo>
                  <a:pt x="192663" y="1155956"/>
                </a:lnTo>
                <a:cubicBezTo>
                  <a:pt x="86258" y="1155956"/>
                  <a:pt x="0" y="1069698"/>
                  <a:pt x="0" y="963293"/>
                </a:cubicBezTo>
                <a:lnTo>
                  <a:pt x="0" y="192663"/>
                </a:lnTo>
                <a:close/>
              </a:path>
            </a:pathLst>
          </a:custGeom>
          <a:solidFill>
            <a:sysClr val="window" lastClr="FFFFFF"/>
          </a:solidFill>
          <a:ln w="10795" cap="flat" cmpd="sng" algn="ctr">
            <a:noFill/>
            <a:prstDash val="solid"/>
          </a:ln>
          <a:effectLst/>
        </p:spPr>
        <p:txBody>
          <a:bodyPr spcFirstLastPara="0" vert="horz" wrap="square" lIns="105959" tIns="105959" rIns="105959" bIns="105959" numCol="1" spcCol="1270" anchor="ctr" anchorCtr="0">
            <a:noAutofit/>
          </a:bodyPr>
          <a:lstStyle/>
          <a:p>
            <a:pPr lvl="0" defTabSz="57785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kumimoji="0" lang="ru-RU" sz="140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подомовой обход позволит </a:t>
            </a:r>
            <a:r>
              <a:rPr lang="ru-RU" sz="1400" kern="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наладить постконтроль </a:t>
            </a:r>
            <a:r>
              <a:rPr lang="ru-RU" sz="1400" kern="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назначения социальных пособий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Roboto Regular"/>
            </a:endParaRP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3986001" cy="6858000"/>
          </a:xfrm>
          <a:prstGeom prst="rect">
            <a:avLst/>
          </a:prstGeom>
        </p:spPr>
      </p:pic>
      <p:sp>
        <p:nvSpPr>
          <p:cNvPr id="24" name="Прямоугольник 23"/>
          <p:cNvSpPr/>
          <p:nvPr/>
        </p:nvSpPr>
        <p:spPr>
          <a:xfrm>
            <a:off x="4215160" y="5086782"/>
            <a:ext cx="750927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 </a:t>
            </a:r>
            <a:r>
              <a:rPr lang="ru-RU" sz="1400" kern="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определить</a:t>
            </a: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оценку качества оказания услуг организациями социального обслуживания</a:t>
            </a:r>
            <a:endParaRPr kumimoji="0" lang="ru-RU" sz="1800" b="0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4215161" y="2770983"/>
            <a:ext cx="601321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 </a:t>
            </a:r>
            <a:r>
              <a:rPr lang="ru-RU" sz="1400" kern="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определить</a:t>
            </a: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потребности населения и приоритетность решаемых задач</a:t>
            </a:r>
            <a:endParaRPr kumimoji="0" lang="ru-RU" sz="1800" b="0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4215161" y="1300987"/>
            <a:ext cx="601321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 </a:t>
            </a:r>
            <a:r>
              <a:rPr lang="ru-RU" sz="1400" kern="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обеспечить</a:t>
            </a: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максимальный охват населения в отдаленных и труднодоступных населенных пунктах</a:t>
            </a:r>
            <a:endParaRPr kumimoji="0" lang="ru-RU" sz="1800" b="0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4215160" y="5834655"/>
            <a:ext cx="6096000" cy="523220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r>
              <a:rPr lang="ru-RU" sz="14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 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с</a:t>
            </a:r>
            <a:r>
              <a:rPr lang="ru-RU" sz="14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обствовать 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стижению общей цели национальных проектов «Здравоохранение» и «Демография»</a:t>
            </a:r>
          </a:p>
        </p:txBody>
      </p:sp>
    </p:spTree>
    <p:extLst>
      <p:ext uri="{BB962C8B-B14F-4D97-AF65-F5344CB8AC3E}">
        <p14:creationId xmlns:p14="http://schemas.microsoft.com/office/powerpoint/2010/main" val="77649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3635520" cy="6858000"/>
          </a:xfrm>
          <a:prstGeom prst="rect">
            <a:avLst/>
          </a:prstGeom>
        </p:spPr>
      </p:pic>
      <p:sp>
        <p:nvSpPr>
          <p:cNvPr id="4" name="Заголовок 1"/>
          <p:cNvSpPr txBox="1">
            <a:spLocks/>
          </p:cNvSpPr>
          <p:nvPr/>
        </p:nvSpPr>
        <p:spPr>
          <a:xfrm>
            <a:off x="3851030" y="64717"/>
            <a:ext cx="6778747" cy="73866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kern="1200">
                <a:solidFill>
                  <a:schemeClr val="accent4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ru-RU" sz="2400" b="1" dirty="0">
                <a:solidFill>
                  <a:srgbClr val="00529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ведение опросов совместно с Почтой России позволит вам:</a:t>
            </a:r>
          </a:p>
        </p:txBody>
      </p:sp>
      <p:sp>
        <p:nvSpPr>
          <p:cNvPr id="10" name="Равнобедренный треугольник 9"/>
          <p:cNvSpPr/>
          <p:nvPr/>
        </p:nvSpPr>
        <p:spPr>
          <a:xfrm rot="5400000">
            <a:off x="1474392" y="2960108"/>
            <a:ext cx="666574" cy="178563"/>
          </a:xfrm>
          <a:prstGeom prst="triangle">
            <a:avLst/>
          </a:prstGeom>
          <a:solidFill>
            <a:srgbClr val="1828DC"/>
          </a:solidFill>
          <a:ln w="9525" cap="flat" cmpd="sng" algn="ctr">
            <a:solidFill>
              <a:srgbClr val="DAC79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51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Roboto Regular"/>
            </a:endParaRPr>
          </a:p>
        </p:txBody>
      </p:sp>
      <p:sp>
        <p:nvSpPr>
          <p:cNvPr id="17" name="Прямоугольник 16"/>
          <p:cNvSpPr/>
          <p:nvPr/>
        </p:nvSpPr>
        <p:spPr>
          <a:xfrm flipH="1">
            <a:off x="3033448" y="2289329"/>
            <a:ext cx="1308712" cy="2862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57785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400" dirty="0">
              <a:solidFill>
                <a:srgbClr val="003399"/>
              </a:solidFill>
              <a:latin typeface="Arial" panose="020B0604020202020204" pitchFamily="34" charset="0"/>
              <a:cs typeface="Arial" panose="020B0604020202020204" pitchFamily="34" charset="0"/>
              <a:sym typeface="Roboto Regular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4256889" y="1003949"/>
            <a:ext cx="7808730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57785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ru-RU" sz="1400" kern="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 </a:t>
            </a:r>
            <a:r>
              <a:rPr lang="ru-RU" sz="1400" kern="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выяснить </a:t>
            </a:r>
            <a:r>
              <a:rPr lang="ru-RU" sz="1400" kern="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мнение потребителя о продукте</a:t>
            </a:r>
            <a:endParaRPr lang="ru-RU" sz="1400" kern="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Roboto Regular"/>
            </a:endParaRPr>
          </a:p>
          <a:p>
            <a:pPr lvl="0">
              <a:spcAft>
                <a:spcPts val="0"/>
              </a:spcAft>
            </a:pPr>
            <a:endParaRPr lang="ru-RU" sz="140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4256890" y="1353311"/>
            <a:ext cx="7808730" cy="480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75565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ru-RU" sz="1400" kern="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r>
              <a:rPr lang="ru-RU" sz="1400" kern="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Roboto Regular"/>
              </a:rPr>
              <a:t>  </a:t>
            </a:r>
            <a:r>
              <a:rPr lang="ru-RU" sz="1400" kern="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Roboto Regular"/>
              </a:rPr>
              <a:t>выявить </a:t>
            </a:r>
            <a:r>
              <a:rPr lang="ru-RU" sz="1400" kern="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Roboto Regular"/>
              </a:rPr>
              <a:t>потребности и мотивацию ЦА: для вывода нового товара или услуги на рынок или оптимизации бизнес - процессов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4256890" y="1852290"/>
            <a:ext cx="780873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kern="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r>
              <a:rPr lang="ru-RU" sz="1400" b="1" kern="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у</a:t>
            </a:r>
            <a:r>
              <a:rPr lang="ru-RU" sz="14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тановить уровень 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знания, уровень лояльности </a:t>
            </a:r>
            <a:r>
              <a:rPr lang="ru-RU" sz="14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воего продукта 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 системе марок-конкурентов</a:t>
            </a:r>
            <a:endParaRPr lang="ru-RU" sz="140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4256890" y="2730628"/>
            <a:ext cx="780873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400" kern="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 </a:t>
            </a:r>
            <a:r>
              <a:rPr lang="ru-RU" sz="14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рассчитать индекс 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отребительской лояльности (NPS)</a:t>
            </a:r>
            <a:endParaRPr lang="ru-RU" sz="140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4256889" y="3133192"/>
            <a:ext cx="780873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400" kern="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 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у</a:t>
            </a:r>
            <a:r>
              <a:rPr lang="ru-RU" sz="14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тановить популярные 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аналы/точки приобретения продукта</a:t>
            </a:r>
            <a:endParaRPr lang="ru-RU" sz="140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4251613" y="3572058"/>
            <a:ext cx="780873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400" kern="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 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р</a:t>
            </a:r>
            <a:r>
              <a:rPr lang="ru-RU" sz="14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нжировать критерии 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ыбора и ключевых характеристик продукта</a:t>
            </a:r>
            <a:endParaRPr lang="ru-RU" sz="140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4251613" y="3968882"/>
            <a:ext cx="780873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400" kern="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 </a:t>
            </a:r>
            <a:r>
              <a:rPr lang="ru-RU" sz="14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изучить 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удитории, влияющие на принятие решений о покупке </a:t>
            </a:r>
            <a:r>
              <a:rPr lang="ru-RU" sz="14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родукта</a:t>
            </a:r>
            <a:endParaRPr lang="ru-RU" sz="140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4251613" y="4416235"/>
            <a:ext cx="780873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400" kern="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 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о</a:t>
            </a:r>
            <a:r>
              <a:rPr lang="ru-RU" sz="14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ценить эффективность 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рекламных каналов</a:t>
            </a:r>
            <a:endParaRPr lang="ru-RU" sz="140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4251613" y="4791410"/>
            <a:ext cx="780873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400" kern="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 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п</a:t>
            </a:r>
            <a:r>
              <a:rPr lang="ru-RU" sz="14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ровести оценку 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рограмм лояльности</a:t>
            </a:r>
            <a:endParaRPr lang="ru-RU" sz="140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4256890" y="5210554"/>
            <a:ext cx="780873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400" kern="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 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у</a:t>
            </a:r>
            <a:r>
              <a:rPr lang="ru-RU" sz="14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знать, 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акие каналы коммуникации популярны у целевой аудитории</a:t>
            </a:r>
            <a:endParaRPr lang="ru-RU" sz="140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4256890" y="2364540"/>
            <a:ext cx="780873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400" kern="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 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с</a:t>
            </a:r>
            <a:r>
              <a:rPr lang="ru-RU" sz="14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ставить социально-демографический 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ортрет покупателей </a:t>
            </a:r>
            <a:r>
              <a:rPr lang="ru-RU" sz="14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родукта</a:t>
            </a:r>
            <a:endParaRPr lang="ru-RU" sz="140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4256890" y="5606802"/>
            <a:ext cx="780872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400" kern="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 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п</a:t>
            </a:r>
            <a:r>
              <a:rPr lang="ru-RU" sz="14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лучить дополнительные 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анные о частоте и объеме потребления</a:t>
            </a:r>
            <a:endParaRPr lang="ru-RU" sz="140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4342160" y="6269697"/>
            <a:ext cx="151964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и многое другое</a:t>
            </a:r>
            <a:endParaRPr lang="ru-RU" sz="140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4309096" y="5960904"/>
            <a:ext cx="7756523" cy="2862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75565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ru-RU" sz="1400" kern="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r>
              <a:rPr lang="ru-RU" sz="1400" b="1" kern="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ru-RU" sz="1400" kern="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пополнить клиентскую базу</a:t>
            </a:r>
            <a:endParaRPr lang="ru-RU" sz="1400" kern="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Roboto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036239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2400" b="1" kern="0" spc="-54" dirty="0" smtClean="0">
                <a:solidFill>
                  <a:srgbClr val="0055A6"/>
                </a:solidFill>
                <a:latin typeface="Arial"/>
                <a:cs typeface="Arial"/>
              </a:rPr>
              <a:t>Конкурентоспособные тарифы</a:t>
            </a:r>
            <a:endParaRPr lang="ru-RU" sz="2400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872911" y="1399882"/>
            <a:ext cx="2148469" cy="6309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11710" marR="4607" lvl="0" indent="-400768" defTabSz="414589">
              <a:lnSpc>
                <a:spcPts val="1995"/>
              </a:lnSpc>
              <a:spcBef>
                <a:spcPts val="218"/>
              </a:spcBef>
            </a:pPr>
            <a:r>
              <a:rPr lang="ru-RU" sz="1723" b="1" spc="-18" dirty="0">
                <a:solidFill>
                  <a:srgbClr val="0055A6"/>
                </a:solidFill>
                <a:latin typeface="Arial"/>
                <a:cs typeface="Arial"/>
              </a:rPr>
              <a:t>Опрос/</a:t>
            </a:r>
          </a:p>
          <a:p>
            <a:pPr marL="411710" marR="4607" lvl="0" indent="-400768" defTabSz="414589">
              <a:lnSpc>
                <a:spcPts val="1995"/>
              </a:lnSpc>
              <a:spcBef>
                <a:spcPts val="218"/>
              </a:spcBef>
            </a:pPr>
            <a:r>
              <a:rPr lang="ru-RU" sz="1723" b="1" spc="-18" dirty="0">
                <a:solidFill>
                  <a:srgbClr val="0055A6"/>
                </a:solidFill>
                <a:latin typeface="Arial"/>
                <a:cs typeface="Arial"/>
              </a:rPr>
              <a:t>анкетирование</a:t>
            </a:r>
            <a:endParaRPr lang="ru-RU" sz="1723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6" name="object 8"/>
          <p:cNvSpPr txBox="1"/>
          <p:nvPr/>
        </p:nvSpPr>
        <p:spPr>
          <a:xfrm>
            <a:off x="8933351" y="4444604"/>
            <a:ext cx="3094711" cy="1795450"/>
          </a:xfrm>
          <a:prstGeom prst="rect">
            <a:avLst/>
          </a:prstGeom>
        </p:spPr>
        <p:txBody>
          <a:bodyPr vert="horz" wrap="square" lIns="0" tIns="11516" rIns="0" bIns="0" rtlCol="0">
            <a:spAutoFit/>
          </a:bodyPr>
          <a:lstStyle/>
          <a:p>
            <a:pPr marL="11517" marR="553361" defTabSz="414589">
              <a:lnSpc>
                <a:spcPct val="121800"/>
              </a:lnSpc>
              <a:spcBef>
                <a:spcPts val="91"/>
              </a:spcBef>
              <a:tabLst>
                <a:tab pos="175049" algn="l"/>
              </a:tabLst>
            </a:pPr>
            <a:endParaRPr lang="ru-RU" sz="1600" spc="-14" dirty="0" smtClean="0">
              <a:solidFill>
                <a:schemeClr val="tx2">
                  <a:lumMod val="75000"/>
                </a:schemeClr>
              </a:solidFill>
              <a:latin typeface="Arial"/>
              <a:cs typeface="Arial"/>
            </a:endParaRPr>
          </a:p>
          <a:p>
            <a:pPr marL="174473" marR="553361" indent="-162956" defTabSz="414589">
              <a:lnSpc>
                <a:spcPct val="121800"/>
              </a:lnSpc>
              <a:spcBef>
                <a:spcPts val="91"/>
              </a:spcBef>
              <a:buFontTx/>
              <a:buChar char="•"/>
              <a:tabLst>
                <a:tab pos="175049" algn="l"/>
              </a:tabLst>
            </a:pPr>
            <a:r>
              <a:rPr lang="ru-RU" sz="1600" spc="-14" dirty="0" smtClean="0">
                <a:solidFill>
                  <a:srgbClr val="1A64A9"/>
                </a:solidFill>
                <a:latin typeface="Arial"/>
                <a:cs typeface="Arial"/>
              </a:rPr>
              <a:t>Опрос </a:t>
            </a:r>
            <a:r>
              <a:rPr lang="ru-RU" sz="1600" spc="-14" dirty="0">
                <a:solidFill>
                  <a:srgbClr val="1A64A9"/>
                </a:solidFill>
                <a:latin typeface="Arial"/>
                <a:cs typeface="Arial"/>
              </a:rPr>
              <a:t>на бумаге или </a:t>
            </a:r>
            <a:endParaRPr lang="ru-RU" sz="1600" spc="-14" dirty="0" smtClean="0">
              <a:solidFill>
                <a:srgbClr val="1A64A9"/>
              </a:solidFill>
              <a:latin typeface="Arial"/>
              <a:cs typeface="Arial"/>
            </a:endParaRPr>
          </a:p>
          <a:p>
            <a:pPr marL="11517" marR="553361" defTabSz="414589">
              <a:lnSpc>
                <a:spcPct val="121800"/>
              </a:lnSpc>
              <a:spcBef>
                <a:spcPts val="91"/>
              </a:spcBef>
              <a:tabLst>
                <a:tab pos="175049" algn="l"/>
              </a:tabLst>
            </a:pPr>
            <a:r>
              <a:rPr lang="ru-RU" sz="1600" spc="-14" dirty="0" smtClean="0">
                <a:solidFill>
                  <a:srgbClr val="1A64A9"/>
                </a:solidFill>
                <a:latin typeface="Arial"/>
                <a:cs typeface="Arial"/>
              </a:rPr>
              <a:t>в электронном виде</a:t>
            </a:r>
          </a:p>
          <a:p>
            <a:pPr marL="174473" marR="848756" indent="-162956" defTabSz="414589">
              <a:lnSpc>
                <a:spcPct val="121800"/>
              </a:lnSpc>
              <a:buFontTx/>
              <a:buChar char="•"/>
              <a:tabLst>
                <a:tab pos="175049" algn="l"/>
              </a:tabLst>
            </a:pPr>
            <a:r>
              <a:rPr lang="ru-RU" sz="1600" spc="-5" dirty="0" smtClean="0">
                <a:solidFill>
                  <a:srgbClr val="1A64A9"/>
                </a:solidFill>
                <a:latin typeface="Arial"/>
                <a:cs typeface="Arial"/>
              </a:rPr>
              <a:t>Минимум</a:t>
            </a:r>
            <a:r>
              <a:rPr sz="1600" spc="-59" dirty="0" smtClean="0">
                <a:solidFill>
                  <a:srgbClr val="1A64A9"/>
                </a:solidFill>
                <a:latin typeface="Arial"/>
                <a:cs typeface="Arial"/>
              </a:rPr>
              <a:t> </a:t>
            </a:r>
            <a:r>
              <a:rPr lang="ru-RU" sz="1600" spc="-5" dirty="0">
                <a:solidFill>
                  <a:srgbClr val="1A64A9"/>
                </a:solidFill>
                <a:latin typeface="Arial"/>
                <a:cs typeface="Arial"/>
              </a:rPr>
              <a:t>1</a:t>
            </a:r>
            <a:r>
              <a:rPr sz="1600" spc="-5" dirty="0">
                <a:solidFill>
                  <a:srgbClr val="1A64A9"/>
                </a:solidFill>
                <a:latin typeface="Arial"/>
                <a:cs typeface="Arial"/>
              </a:rPr>
              <a:t>00  </a:t>
            </a:r>
            <a:r>
              <a:rPr lang="ru-RU" sz="1600" spc="-9" dirty="0">
                <a:solidFill>
                  <a:srgbClr val="1A64A9"/>
                </a:solidFill>
                <a:latin typeface="Arial"/>
                <a:cs typeface="Arial"/>
              </a:rPr>
              <a:t>анкет</a:t>
            </a:r>
            <a:endParaRPr sz="1600" dirty="0">
              <a:solidFill>
                <a:srgbClr val="1A64A9"/>
              </a:solidFill>
              <a:latin typeface="Arial"/>
              <a:cs typeface="Arial"/>
            </a:endParaRPr>
          </a:p>
          <a:p>
            <a:pPr marL="174473" indent="-162956" defTabSz="414589">
              <a:spcBef>
                <a:spcPts val="308"/>
              </a:spcBef>
              <a:buFontTx/>
              <a:buChar char="•"/>
              <a:tabLst>
                <a:tab pos="175049" algn="l"/>
              </a:tabLst>
            </a:pPr>
            <a:r>
              <a:rPr lang="ru-RU" sz="1600" dirty="0" smtClean="0">
                <a:solidFill>
                  <a:srgbClr val="1A64A9"/>
                </a:solidFill>
                <a:latin typeface="Arial"/>
                <a:cs typeface="Arial"/>
              </a:rPr>
              <a:t>Анкета </a:t>
            </a:r>
            <a:r>
              <a:rPr lang="ru-RU" sz="1600" dirty="0">
                <a:solidFill>
                  <a:srgbClr val="1A64A9"/>
                </a:solidFill>
                <a:latin typeface="Arial"/>
                <a:cs typeface="Arial"/>
              </a:rPr>
              <a:t>от 10 до 30 </a:t>
            </a:r>
            <a:r>
              <a:rPr lang="ru-RU" sz="1600" dirty="0" smtClean="0">
                <a:solidFill>
                  <a:srgbClr val="1A64A9"/>
                </a:solidFill>
                <a:latin typeface="Arial"/>
                <a:cs typeface="Arial"/>
              </a:rPr>
              <a:t>вопросов</a:t>
            </a:r>
          </a:p>
          <a:p>
            <a:pPr marL="174473" indent="-162956" defTabSz="414589">
              <a:spcBef>
                <a:spcPts val="308"/>
              </a:spcBef>
              <a:buFontTx/>
              <a:buChar char="•"/>
              <a:tabLst>
                <a:tab pos="175049" algn="l"/>
              </a:tabLst>
            </a:pPr>
            <a:endParaRPr sz="1600" dirty="0">
              <a:solidFill>
                <a:schemeClr val="tx2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8493630" y="759701"/>
            <a:ext cx="3534432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2800" dirty="0" smtClean="0">
                <a:solidFill>
                  <a:srgbClr val="00529F"/>
                </a:solidFill>
                <a:latin typeface="Arial"/>
              </a:rPr>
              <a:t>Проведение </a:t>
            </a:r>
            <a:r>
              <a:rPr lang="ru-RU" sz="2800" b="1" dirty="0">
                <a:solidFill>
                  <a:srgbClr val="00529F"/>
                </a:solidFill>
                <a:latin typeface="Arial"/>
              </a:rPr>
              <a:t>личного экспресс </a:t>
            </a:r>
            <a:r>
              <a:rPr lang="ru-RU" sz="2800" b="1" dirty="0" smtClean="0">
                <a:solidFill>
                  <a:srgbClr val="00529F"/>
                </a:solidFill>
                <a:latin typeface="Arial"/>
              </a:rPr>
              <a:t>интервью </a:t>
            </a:r>
            <a:r>
              <a:rPr lang="ru-RU" sz="2800" dirty="0">
                <a:solidFill>
                  <a:srgbClr val="00529F"/>
                </a:solidFill>
                <a:latin typeface="Arial"/>
              </a:rPr>
              <a:t>дает наиболее </a:t>
            </a:r>
            <a:r>
              <a:rPr lang="ru-RU" sz="2800" b="1" dirty="0" smtClean="0">
                <a:solidFill>
                  <a:srgbClr val="00529F"/>
                </a:solidFill>
                <a:latin typeface="Arial"/>
              </a:rPr>
              <a:t>качественные результаты</a:t>
            </a:r>
            <a:r>
              <a:rPr lang="ru-RU" sz="2800" dirty="0" smtClean="0">
                <a:solidFill>
                  <a:srgbClr val="00529F"/>
                </a:solidFill>
                <a:latin typeface="Arial"/>
              </a:rPr>
              <a:t> в отличии от других видов опросов</a:t>
            </a:r>
            <a:endParaRPr lang="ru-RU" sz="2800" dirty="0" smtClean="0">
              <a:solidFill>
                <a:prstClr val="white"/>
              </a:solidFill>
              <a:latin typeface="Arial"/>
            </a:endParaRPr>
          </a:p>
          <a:p>
            <a:pPr lvl="0" algn="ctr"/>
            <a:endParaRPr lang="ru-RU" sz="2800" dirty="0" smtClea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3326330" y="1591122"/>
            <a:ext cx="521955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72-230 руб</a:t>
            </a:r>
            <a:r>
              <a:rPr lang="ru-RU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ru-RU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за одно </a:t>
            </a:r>
            <a:r>
              <a:rPr lang="ru-RU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тервью</a:t>
            </a:r>
            <a:endParaRPr lang="ru-RU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2" name="Straight Connector 25"/>
          <p:cNvCxnSpPr/>
          <p:nvPr/>
        </p:nvCxnSpPr>
        <p:spPr>
          <a:xfrm flipH="1">
            <a:off x="8312946" y="1283357"/>
            <a:ext cx="28962" cy="4561721"/>
          </a:xfrm>
          <a:prstGeom prst="line">
            <a:avLst/>
          </a:prstGeom>
          <a:noFill/>
          <a:ln w="19050" cap="rnd" cmpd="sng" algn="ctr">
            <a:solidFill>
              <a:srgbClr val="5D78D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4" name="Прямоугольник 3"/>
          <p:cNvSpPr/>
          <p:nvPr/>
        </p:nvSpPr>
        <p:spPr>
          <a:xfrm>
            <a:off x="676356" y="2102272"/>
            <a:ext cx="6096000" cy="1754326"/>
          </a:xfrm>
          <a:prstGeom prst="rect">
            <a:avLst/>
          </a:prstGeom>
        </p:spPr>
        <p:txBody>
          <a:bodyPr>
            <a:spAutoFit/>
          </a:bodyPr>
          <a:lstStyle/>
          <a:p>
            <a:pPr indent="449580" algn="just">
              <a:spcAft>
                <a:spcPts val="0"/>
              </a:spcAft>
            </a:pPr>
            <a:r>
              <a:rPr lang="ru-RU" dirty="0" smtClean="0">
                <a:latin typeface="Times New Roman" panose="02020603050405020304" pitchFamily="18" charset="0"/>
                <a:ea typeface="Times New Roman" panose="02020603050405020304" pitchFamily="18" charset="0"/>
              </a:rPr>
              <a:t>Окончательный тариф на проведение опроса будет сформирован после уточнения всех деталей опроса, а именно:</a:t>
            </a:r>
          </a:p>
          <a:p>
            <a:pPr indent="449580" algn="just">
              <a:spcAft>
                <a:spcPts val="0"/>
              </a:spcAft>
            </a:pPr>
            <a:r>
              <a:rPr lang="ru-RU" dirty="0" smtClean="0">
                <a:latin typeface="Times New Roman" panose="02020603050405020304" pitchFamily="18" charset="0"/>
                <a:ea typeface="Times New Roman" panose="02020603050405020304" pitchFamily="18" charset="0"/>
              </a:rPr>
              <a:t>период </a:t>
            </a: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</a:rPr>
              <a:t>реализации проектов, механики, </a:t>
            </a:r>
            <a:r>
              <a:rPr lang="ru-RU" dirty="0" err="1">
                <a:latin typeface="Times New Roman" panose="02020603050405020304" pitchFamily="18" charset="0"/>
                <a:ea typeface="Times New Roman" panose="02020603050405020304" pitchFamily="18" charset="0"/>
              </a:rPr>
              <a:t>геотаргетинг</a:t>
            </a: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</a:rPr>
              <a:t>, охват аудитории и </a:t>
            </a:r>
            <a:r>
              <a:rPr lang="ru-RU" dirty="0" err="1">
                <a:latin typeface="Times New Roman" panose="02020603050405020304" pitchFamily="18" charset="0"/>
                <a:ea typeface="Times New Roman" panose="02020603050405020304" pitchFamily="18" charset="0"/>
              </a:rPr>
              <a:t>пр</a:t>
            </a:r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</a:rPr>
              <a:t>, после чего будем рады сделать финальные расчёты.</a:t>
            </a:r>
            <a:endParaRPr lang="ru-RU" sz="2000" b="1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94580126"/>
              </p:ext>
            </p:extLst>
          </p:nvPr>
        </p:nvGraphicFramePr>
        <p:xfrm>
          <a:off x="1053447" y="4674398"/>
          <a:ext cx="4945909" cy="156565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42900">
                  <a:extLst>
                    <a:ext uri="{9D8B030D-6E8A-4147-A177-3AD203B41FA5}">
                      <a16:colId xmlns:a16="http://schemas.microsoft.com/office/drawing/2014/main" val="87248762"/>
                    </a:ext>
                  </a:extLst>
                </a:gridCol>
                <a:gridCol w="3545205">
                  <a:extLst>
                    <a:ext uri="{9D8B030D-6E8A-4147-A177-3AD203B41FA5}">
                      <a16:colId xmlns:a16="http://schemas.microsoft.com/office/drawing/2014/main" val="1305363786"/>
                    </a:ext>
                  </a:extLst>
                </a:gridCol>
                <a:gridCol w="1057804">
                  <a:extLst>
                    <a:ext uri="{9D8B030D-6E8A-4147-A177-3AD203B41FA5}">
                      <a16:colId xmlns:a16="http://schemas.microsoft.com/office/drawing/2014/main" val="3673740814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 п/п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ъем заказа при объеме заказа/адресной базы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кидка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52666178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288290" algn="l"/>
                        </a:tabLs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 10 001 до 20 000 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%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07023494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288290" algn="l"/>
                        </a:tabLs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 20 001 до 50 000 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%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17768733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288290" algn="l"/>
                        </a:tabLs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 50 001 до 100 000 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%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03926632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288290" algn="l"/>
                        </a:tabLs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 100 001 до 150 000 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%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27147223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288290" algn="l"/>
                        </a:tabLst>
                      </a:pPr>
                      <a:r>
                        <a:rPr lang="ru-R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 150 001 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%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00228864"/>
                  </a:ext>
                </a:extLst>
              </a:tr>
            </a:tbl>
          </a:graphicData>
        </a:graphic>
      </p:graphicFrame>
      <p:sp>
        <p:nvSpPr>
          <p:cNvPr id="7" name="Rectangle 1"/>
          <p:cNvSpPr>
            <a:spLocks noChangeArrowheads="1"/>
          </p:cNvSpPr>
          <p:nvPr/>
        </p:nvSpPr>
        <p:spPr bwMode="auto">
          <a:xfrm>
            <a:off x="901075" y="3929800"/>
            <a:ext cx="5035030" cy="8002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450850" eaLnBrk="0" fontAlgn="base" hangingPunct="0">
              <a:spcBef>
                <a:spcPct val="0"/>
              </a:spcBef>
              <a:spcAft>
                <a:spcPct val="0"/>
              </a:spcAft>
              <a:tabLst>
                <a:tab pos="2889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2889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2889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2889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2889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2889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2889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2889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2889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4508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88925" algn="l"/>
              </a:tabLst>
            </a:pPr>
            <a:r>
              <a:rPr kumimoji="0" lang="ru-RU" altLang="ru-RU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Скидки на услугу «Проведение опросов» </a:t>
            </a:r>
            <a:endParaRPr kumimoji="0" lang="ru-RU" altLang="ru-RU" sz="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4508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88925" algn="l"/>
              </a:tabLst>
            </a:pPr>
            <a:r>
              <a:rPr kumimoji="0" lang="ru-RU" altLang="ru-RU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в зависимости от объема заказа/адресной базы</a:t>
            </a:r>
            <a:endParaRPr kumimoji="0" lang="ru-RU" altLang="ru-RU" sz="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4508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88925" algn="l"/>
              </a:tabLst>
            </a:pPr>
            <a:endParaRPr kumimoji="0" lang="ru-RU" alt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4961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Рисунок 1"/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5" name="Заголовок 4"/>
          <p:cNvSpPr>
            <a:spLocks noGrp="1"/>
          </p:cNvSpPr>
          <p:nvPr>
            <p:ph type="ctrTitle"/>
          </p:nvPr>
        </p:nvSpPr>
        <p:spPr>
          <a:xfrm>
            <a:off x="890693" y="615005"/>
            <a:ext cx="6868800" cy="3138423"/>
          </a:xfrm>
        </p:spPr>
        <p:txBody>
          <a:bodyPr>
            <a:normAutofit/>
          </a:bodyPr>
          <a:lstStyle/>
          <a:p>
            <a:r>
              <a:rPr lang="ru-RU" sz="45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пасибо</a:t>
            </a:r>
            <a:endParaRPr lang="ru-RU" sz="45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19947" y="5410202"/>
            <a:ext cx="2114550" cy="1057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9374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" name="Объект 46" hidden="1">
            <a:extLst>
              <a:ext uri="{FF2B5EF4-FFF2-40B4-BE49-F238E27FC236}">
                <a16:creationId xmlns:a16="http://schemas.microsoft.com/office/drawing/2014/main" id="{57F4FA0D-B069-5F43-A049-820FEB0A0E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72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47" name="Объект 46" hidden="1">
                        <a:extLst>
                          <a:ext uri="{FF2B5EF4-FFF2-40B4-BE49-F238E27FC236}">
                            <a16:creationId xmlns:a16="http://schemas.microsoft.com/office/drawing/2014/main" id="{57F4FA0D-B069-5F43-A049-820FEB0A0E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Прямоугольник 45" hidden="1">
            <a:extLst>
              <a:ext uri="{FF2B5EF4-FFF2-40B4-BE49-F238E27FC236}">
                <a16:creationId xmlns:a16="http://schemas.microsoft.com/office/drawing/2014/main" id="{B7C15DC3-2D31-3D48-BF1F-A50A183B70E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az-Cyrl-AZ" sz="1050" dirty="0" err="1">
              <a:solidFill>
                <a:srgbClr val="FFFFFF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Title 1"/>
          <p:cNvSpPr txBox="1">
            <a:spLocks/>
          </p:cNvSpPr>
          <p:nvPr/>
        </p:nvSpPr>
        <p:spPr>
          <a:xfrm>
            <a:off x="507093" y="1043226"/>
            <a:ext cx="3242797" cy="560153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0" i="0">
                <a:solidFill>
                  <a:srgbClr val="003399"/>
                </a:solidFill>
                <a:latin typeface="Arial"/>
                <a:ea typeface="+mj-ea"/>
                <a:cs typeface="Arial"/>
              </a:defRPr>
            </a:lvl1pPr>
          </a:lstStyle>
          <a:p>
            <a:pPr lvl="0" algn="ctr"/>
            <a:r>
              <a:rPr lang="ru-RU" sz="28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очта России - единственная </a:t>
            </a:r>
            <a:r>
              <a:rPr lang="ru-RU" sz="28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рганизация, </a:t>
            </a:r>
            <a:r>
              <a:rPr lang="ru-RU" sz="28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имеющая возможность проводить </a:t>
            </a:r>
            <a:r>
              <a:rPr lang="ru-RU" sz="28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просы </a:t>
            </a:r>
            <a:r>
              <a:rPr lang="ru-RU" sz="2800" b="1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на </a:t>
            </a:r>
            <a:r>
              <a:rPr lang="ru-RU" sz="28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сей территории РФ</a:t>
            </a:r>
            <a:r>
              <a:rPr lang="ru-RU" sz="28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28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осредством </a:t>
            </a:r>
            <a:r>
              <a:rPr lang="ru-RU" sz="28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личного контакта </a:t>
            </a:r>
            <a:r>
              <a:rPr lang="ru-RU" sz="28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ри </a:t>
            </a:r>
            <a:endParaRPr lang="ru-RU" sz="2800" dirty="0" smtClean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lvl="0" algn="ctr"/>
            <a:r>
              <a:rPr lang="ru-RU" sz="2800" b="1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одомовом обходе</a:t>
            </a:r>
            <a:endParaRPr kumimoji="0" lang="en-US" sz="2663" b="1" i="0" u="none" strike="noStrike" kern="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4735739" y="959412"/>
            <a:ext cx="1298929" cy="1230092"/>
            <a:chOff x="4735739" y="1175654"/>
            <a:chExt cx="1298929" cy="1230092"/>
          </a:xfrm>
        </p:grpSpPr>
        <p:sp>
          <p:nvSpPr>
            <p:cNvPr id="29" name="Oval 8"/>
            <p:cNvSpPr/>
            <p:nvPr/>
          </p:nvSpPr>
          <p:spPr>
            <a:xfrm>
              <a:off x="4735739" y="1214243"/>
              <a:ext cx="1298929" cy="1191503"/>
            </a:xfrm>
            <a:prstGeom prst="ellipse">
              <a:avLst/>
            </a:prstGeom>
            <a:solidFill>
              <a:sysClr val="window" lastClr="FFFFFF"/>
            </a:solidFill>
            <a:ln w="38100" cap="flat" cmpd="sng" algn="ctr">
              <a:gradFill flip="none" rotWithShape="1">
                <a:gsLst>
                  <a:gs pos="0">
                    <a:srgbClr val="4D4D4D"/>
                  </a:gs>
                  <a:gs pos="100000">
                    <a:srgbClr val="D9D9D9"/>
                  </a:gs>
                </a:gsLst>
                <a:lin ang="2700000" scaled="1"/>
                <a:tileRect/>
              </a:gra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15" name="bcgIcons_GoToMarket">
              <a:extLst>
                <a:ext uri="{FF2B5EF4-FFF2-40B4-BE49-F238E27FC236}">
                  <a16:creationId xmlns:a16="http://schemas.microsoft.com/office/drawing/2014/main" id="{80DCD6BF-47C8-41B6-935A-8B6D6CCE7BF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 flipH="1">
              <a:off x="4812378" y="1175654"/>
              <a:ext cx="1222290" cy="1223233"/>
              <a:chOff x="1682" y="0"/>
              <a:chExt cx="4316" cy="4320"/>
            </a:xfrm>
          </p:grpSpPr>
          <p:sp>
            <p:nvSpPr>
              <p:cNvPr id="16" name="AutoShape 14">
                <a:extLst>
                  <a:ext uri="{FF2B5EF4-FFF2-40B4-BE49-F238E27FC236}">
                    <a16:creationId xmlns:a16="http://schemas.microsoft.com/office/drawing/2014/main" id="{6B6264DF-7B72-47C2-A253-60D979D85B1E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751" tIns="60875" rIns="121751" bIns="6087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7524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7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2">
                      <a:lumMod val="75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Roboto Regular"/>
                </a:endParaRPr>
              </a:p>
            </p:txBody>
          </p:sp>
          <p:sp>
            <p:nvSpPr>
              <p:cNvPr id="17" name="Freeform 16">
                <a:extLst>
                  <a:ext uri="{FF2B5EF4-FFF2-40B4-BE49-F238E27FC236}">
                    <a16:creationId xmlns:a16="http://schemas.microsoft.com/office/drawing/2014/main" id="{FF46FB5E-9D6C-47F1-A06B-2A72B07FF12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74" y="296"/>
                <a:ext cx="2605" cy="2697"/>
              </a:xfrm>
              <a:custGeom>
                <a:avLst/>
                <a:gdLst>
                  <a:gd name="T0" fmla="*/ 540 w 1391"/>
                  <a:gd name="T1" fmla="*/ 461 h 1438"/>
                  <a:gd name="T2" fmla="*/ 144 w 1391"/>
                  <a:gd name="T3" fmla="*/ 866 h 1438"/>
                  <a:gd name="T4" fmla="*/ 204 w 1391"/>
                  <a:gd name="T5" fmla="*/ 1230 h 1438"/>
                  <a:gd name="T6" fmla="*/ 235 w 1391"/>
                  <a:gd name="T7" fmla="*/ 1261 h 1438"/>
                  <a:gd name="T8" fmla="*/ 122 w 1391"/>
                  <a:gd name="T9" fmla="*/ 1364 h 1438"/>
                  <a:gd name="T10" fmla="*/ 121 w 1391"/>
                  <a:gd name="T11" fmla="*/ 1364 h 1438"/>
                  <a:gd name="T12" fmla="*/ 8 w 1391"/>
                  <a:gd name="T13" fmla="*/ 1258 h 1438"/>
                  <a:gd name="T14" fmla="*/ 40 w 1391"/>
                  <a:gd name="T15" fmla="*/ 1228 h 1438"/>
                  <a:gd name="T16" fmla="*/ 100 w 1391"/>
                  <a:gd name="T17" fmla="*/ 857 h 1438"/>
                  <a:gd name="T18" fmla="*/ 496 w 1391"/>
                  <a:gd name="T19" fmla="*/ 452 h 1438"/>
                  <a:gd name="T20" fmla="*/ 518 w 1391"/>
                  <a:gd name="T21" fmla="*/ 0 h 1438"/>
                  <a:gd name="T22" fmla="*/ 758 w 1391"/>
                  <a:gd name="T23" fmla="*/ 746 h 1438"/>
                  <a:gd name="T24" fmla="*/ 699 w 1391"/>
                  <a:gd name="T25" fmla="*/ 22 h 1438"/>
                  <a:gd name="T26" fmla="*/ 655 w 1391"/>
                  <a:gd name="T27" fmla="*/ 22 h 1438"/>
                  <a:gd name="T28" fmla="*/ 594 w 1391"/>
                  <a:gd name="T29" fmla="*/ 744 h 1438"/>
                  <a:gd name="T30" fmla="*/ 562 w 1391"/>
                  <a:gd name="T31" fmla="*/ 775 h 1438"/>
                  <a:gd name="T32" fmla="*/ 674 w 1391"/>
                  <a:gd name="T33" fmla="*/ 880 h 1438"/>
                  <a:gd name="T34" fmla="*/ 690 w 1391"/>
                  <a:gd name="T35" fmla="*/ 874 h 1438"/>
                  <a:gd name="T36" fmla="*/ 790 w 1391"/>
                  <a:gd name="T37" fmla="*/ 747 h 1438"/>
                  <a:gd name="T38" fmla="*/ 1111 w 1391"/>
                  <a:gd name="T39" fmla="*/ 886 h 1438"/>
                  <a:gd name="T40" fmla="*/ 1051 w 1391"/>
                  <a:gd name="T41" fmla="*/ 726 h 1438"/>
                  <a:gd name="T42" fmla="*/ 858 w 1391"/>
                  <a:gd name="T43" fmla="*/ 524 h 1438"/>
                  <a:gd name="T44" fmla="*/ 836 w 1391"/>
                  <a:gd name="T45" fmla="*/ 0 h 1438"/>
                  <a:gd name="T46" fmla="*/ 814 w 1391"/>
                  <a:gd name="T47" fmla="*/ 533 h 1438"/>
                  <a:gd name="T48" fmla="*/ 1007 w 1391"/>
                  <a:gd name="T49" fmla="*/ 735 h 1438"/>
                  <a:gd name="T50" fmla="*/ 947 w 1391"/>
                  <a:gd name="T51" fmla="*/ 884 h 1438"/>
                  <a:gd name="T52" fmla="*/ 915 w 1391"/>
                  <a:gd name="T53" fmla="*/ 915 h 1438"/>
                  <a:gd name="T54" fmla="*/ 1027 w 1391"/>
                  <a:gd name="T55" fmla="*/ 1021 h 1438"/>
                  <a:gd name="T56" fmla="*/ 1043 w 1391"/>
                  <a:gd name="T57" fmla="*/ 1014 h 1438"/>
                  <a:gd name="T58" fmla="*/ 1142 w 1391"/>
                  <a:gd name="T59" fmla="*/ 887 h 1438"/>
                  <a:gd name="T60" fmla="*/ 1383 w 1391"/>
                  <a:gd name="T61" fmla="*/ 1304 h 1438"/>
                  <a:gd name="T62" fmla="*/ 1291 w 1391"/>
                  <a:gd name="T63" fmla="*/ 1362 h 1438"/>
                  <a:gd name="T64" fmla="*/ 1285 w 1391"/>
                  <a:gd name="T65" fmla="*/ 618 h 1438"/>
                  <a:gd name="T66" fmla="*/ 1016 w 1391"/>
                  <a:gd name="T67" fmla="*/ 22 h 1438"/>
                  <a:gd name="T68" fmla="*/ 972 w 1391"/>
                  <a:gd name="T69" fmla="*/ 22 h 1438"/>
                  <a:gd name="T70" fmla="*/ 979 w 1391"/>
                  <a:gd name="T71" fmla="*/ 373 h 1438"/>
                  <a:gd name="T72" fmla="*/ 1247 w 1391"/>
                  <a:gd name="T73" fmla="*/ 1363 h 1438"/>
                  <a:gd name="T74" fmla="*/ 1156 w 1391"/>
                  <a:gd name="T75" fmla="*/ 1301 h 1438"/>
                  <a:gd name="T76" fmla="*/ 1252 w 1391"/>
                  <a:gd name="T77" fmla="*/ 1431 h 1438"/>
                  <a:gd name="T78" fmla="*/ 1268 w 1391"/>
                  <a:gd name="T79" fmla="*/ 1438 h 1438"/>
                  <a:gd name="T80" fmla="*/ 1288 w 1391"/>
                  <a:gd name="T81" fmla="*/ 1427 h 1438"/>
                  <a:gd name="T82" fmla="*/ 1383 w 1391"/>
                  <a:gd name="T83" fmla="*/ 1304 h 14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391" h="1438">
                    <a:moveTo>
                      <a:pt x="540" y="22"/>
                    </a:moveTo>
                    <a:cubicBezTo>
                      <a:pt x="540" y="461"/>
                      <a:pt x="540" y="461"/>
                      <a:pt x="540" y="461"/>
                    </a:cubicBezTo>
                    <a:cubicBezTo>
                      <a:pt x="540" y="467"/>
                      <a:pt x="538" y="472"/>
                      <a:pt x="534" y="476"/>
                    </a:cubicBezTo>
                    <a:cubicBezTo>
                      <a:pt x="144" y="866"/>
                      <a:pt x="144" y="866"/>
                      <a:pt x="144" y="866"/>
                    </a:cubicBezTo>
                    <a:cubicBezTo>
                      <a:pt x="144" y="1289"/>
                      <a:pt x="144" y="1289"/>
                      <a:pt x="144" y="1289"/>
                    </a:cubicBezTo>
                    <a:cubicBezTo>
                      <a:pt x="204" y="1230"/>
                      <a:pt x="204" y="1230"/>
                      <a:pt x="204" y="1230"/>
                    </a:cubicBezTo>
                    <a:cubicBezTo>
                      <a:pt x="213" y="1221"/>
                      <a:pt x="227" y="1221"/>
                      <a:pt x="235" y="1230"/>
                    </a:cubicBezTo>
                    <a:cubicBezTo>
                      <a:pt x="244" y="1239"/>
                      <a:pt x="244" y="1253"/>
                      <a:pt x="235" y="1261"/>
                    </a:cubicBezTo>
                    <a:cubicBezTo>
                      <a:pt x="141" y="1353"/>
                      <a:pt x="141" y="1353"/>
                      <a:pt x="141" y="1353"/>
                    </a:cubicBezTo>
                    <a:cubicBezTo>
                      <a:pt x="137" y="1360"/>
                      <a:pt x="130" y="1364"/>
                      <a:pt x="122" y="1364"/>
                    </a:cubicBezTo>
                    <a:cubicBezTo>
                      <a:pt x="122" y="1364"/>
                      <a:pt x="121" y="1364"/>
                      <a:pt x="121" y="1364"/>
                    </a:cubicBezTo>
                    <a:cubicBezTo>
                      <a:pt x="121" y="1364"/>
                      <a:pt x="121" y="1364"/>
                      <a:pt x="121" y="1364"/>
                    </a:cubicBezTo>
                    <a:cubicBezTo>
                      <a:pt x="115" y="1364"/>
                      <a:pt x="109" y="1362"/>
                      <a:pt x="105" y="1357"/>
                    </a:cubicBezTo>
                    <a:cubicBezTo>
                      <a:pt x="8" y="1258"/>
                      <a:pt x="8" y="1258"/>
                      <a:pt x="8" y="1258"/>
                    </a:cubicBezTo>
                    <a:cubicBezTo>
                      <a:pt x="0" y="1250"/>
                      <a:pt x="0" y="1236"/>
                      <a:pt x="9" y="1227"/>
                    </a:cubicBezTo>
                    <a:cubicBezTo>
                      <a:pt x="18" y="1219"/>
                      <a:pt x="31" y="1219"/>
                      <a:pt x="40" y="1228"/>
                    </a:cubicBezTo>
                    <a:cubicBezTo>
                      <a:pt x="100" y="1289"/>
                      <a:pt x="100" y="1289"/>
                      <a:pt x="100" y="1289"/>
                    </a:cubicBezTo>
                    <a:cubicBezTo>
                      <a:pt x="100" y="857"/>
                      <a:pt x="100" y="857"/>
                      <a:pt x="100" y="857"/>
                    </a:cubicBezTo>
                    <a:cubicBezTo>
                      <a:pt x="100" y="851"/>
                      <a:pt x="102" y="846"/>
                      <a:pt x="106" y="842"/>
                    </a:cubicBezTo>
                    <a:cubicBezTo>
                      <a:pt x="496" y="452"/>
                      <a:pt x="496" y="452"/>
                      <a:pt x="496" y="452"/>
                    </a:cubicBezTo>
                    <a:cubicBezTo>
                      <a:pt x="496" y="22"/>
                      <a:pt x="496" y="22"/>
                      <a:pt x="496" y="22"/>
                    </a:cubicBezTo>
                    <a:cubicBezTo>
                      <a:pt x="496" y="10"/>
                      <a:pt x="506" y="0"/>
                      <a:pt x="518" y="0"/>
                    </a:cubicBezTo>
                    <a:cubicBezTo>
                      <a:pt x="531" y="0"/>
                      <a:pt x="540" y="10"/>
                      <a:pt x="540" y="22"/>
                    </a:cubicBezTo>
                    <a:close/>
                    <a:moveTo>
                      <a:pt x="758" y="746"/>
                    </a:moveTo>
                    <a:cubicBezTo>
                      <a:pt x="699" y="804"/>
                      <a:pt x="699" y="804"/>
                      <a:pt x="699" y="804"/>
                    </a:cubicBezTo>
                    <a:cubicBezTo>
                      <a:pt x="699" y="22"/>
                      <a:pt x="699" y="22"/>
                      <a:pt x="699" y="22"/>
                    </a:cubicBezTo>
                    <a:cubicBezTo>
                      <a:pt x="699" y="10"/>
                      <a:pt x="689" y="0"/>
                      <a:pt x="677" y="0"/>
                    </a:cubicBezTo>
                    <a:cubicBezTo>
                      <a:pt x="665" y="0"/>
                      <a:pt x="655" y="10"/>
                      <a:pt x="655" y="22"/>
                    </a:cubicBezTo>
                    <a:cubicBezTo>
                      <a:pt x="655" y="807"/>
                      <a:pt x="655" y="807"/>
                      <a:pt x="655" y="807"/>
                    </a:cubicBezTo>
                    <a:cubicBezTo>
                      <a:pt x="594" y="744"/>
                      <a:pt x="594" y="744"/>
                      <a:pt x="594" y="744"/>
                    </a:cubicBezTo>
                    <a:cubicBezTo>
                      <a:pt x="586" y="735"/>
                      <a:pt x="572" y="735"/>
                      <a:pt x="563" y="744"/>
                    </a:cubicBezTo>
                    <a:cubicBezTo>
                      <a:pt x="554" y="752"/>
                      <a:pt x="554" y="766"/>
                      <a:pt x="562" y="775"/>
                    </a:cubicBezTo>
                    <a:cubicBezTo>
                      <a:pt x="659" y="874"/>
                      <a:pt x="659" y="874"/>
                      <a:pt x="659" y="874"/>
                    </a:cubicBezTo>
                    <a:cubicBezTo>
                      <a:pt x="663" y="878"/>
                      <a:pt x="669" y="880"/>
                      <a:pt x="674" y="880"/>
                    </a:cubicBezTo>
                    <a:cubicBezTo>
                      <a:pt x="675" y="880"/>
                      <a:pt x="675" y="880"/>
                      <a:pt x="675" y="880"/>
                    </a:cubicBezTo>
                    <a:cubicBezTo>
                      <a:pt x="680" y="880"/>
                      <a:pt x="686" y="878"/>
                      <a:pt x="690" y="874"/>
                    </a:cubicBezTo>
                    <a:cubicBezTo>
                      <a:pt x="789" y="778"/>
                      <a:pt x="789" y="778"/>
                      <a:pt x="789" y="778"/>
                    </a:cubicBezTo>
                    <a:cubicBezTo>
                      <a:pt x="798" y="769"/>
                      <a:pt x="798" y="755"/>
                      <a:pt x="790" y="747"/>
                    </a:cubicBezTo>
                    <a:cubicBezTo>
                      <a:pt x="781" y="738"/>
                      <a:pt x="767" y="738"/>
                      <a:pt x="758" y="746"/>
                    </a:cubicBezTo>
                    <a:close/>
                    <a:moveTo>
                      <a:pt x="1111" y="886"/>
                    </a:moveTo>
                    <a:cubicBezTo>
                      <a:pt x="1051" y="945"/>
                      <a:pt x="1051" y="945"/>
                      <a:pt x="1051" y="945"/>
                    </a:cubicBezTo>
                    <a:cubicBezTo>
                      <a:pt x="1051" y="726"/>
                      <a:pt x="1051" y="726"/>
                      <a:pt x="1051" y="726"/>
                    </a:cubicBezTo>
                    <a:cubicBezTo>
                      <a:pt x="1051" y="720"/>
                      <a:pt x="1048" y="715"/>
                      <a:pt x="1044" y="710"/>
                    </a:cubicBezTo>
                    <a:cubicBezTo>
                      <a:pt x="858" y="524"/>
                      <a:pt x="858" y="524"/>
                      <a:pt x="858" y="524"/>
                    </a:cubicBezTo>
                    <a:cubicBezTo>
                      <a:pt x="858" y="22"/>
                      <a:pt x="858" y="22"/>
                      <a:pt x="858" y="22"/>
                    </a:cubicBezTo>
                    <a:cubicBezTo>
                      <a:pt x="858" y="10"/>
                      <a:pt x="848" y="0"/>
                      <a:pt x="836" y="0"/>
                    </a:cubicBezTo>
                    <a:cubicBezTo>
                      <a:pt x="823" y="0"/>
                      <a:pt x="814" y="10"/>
                      <a:pt x="814" y="22"/>
                    </a:cubicBezTo>
                    <a:cubicBezTo>
                      <a:pt x="814" y="533"/>
                      <a:pt x="814" y="533"/>
                      <a:pt x="814" y="533"/>
                    </a:cubicBezTo>
                    <a:cubicBezTo>
                      <a:pt x="814" y="539"/>
                      <a:pt x="816" y="545"/>
                      <a:pt x="820" y="549"/>
                    </a:cubicBezTo>
                    <a:cubicBezTo>
                      <a:pt x="1007" y="735"/>
                      <a:pt x="1007" y="735"/>
                      <a:pt x="1007" y="735"/>
                    </a:cubicBezTo>
                    <a:cubicBezTo>
                      <a:pt x="1007" y="946"/>
                      <a:pt x="1007" y="946"/>
                      <a:pt x="1007" y="946"/>
                    </a:cubicBezTo>
                    <a:cubicBezTo>
                      <a:pt x="947" y="884"/>
                      <a:pt x="947" y="884"/>
                      <a:pt x="947" y="884"/>
                    </a:cubicBezTo>
                    <a:cubicBezTo>
                      <a:pt x="938" y="875"/>
                      <a:pt x="924" y="875"/>
                      <a:pt x="916" y="884"/>
                    </a:cubicBezTo>
                    <a:cubicBezTo>
                      <a:pt x="907" y="892"/>
                      <a:pt x="907" y="906"/>
                      <a:pt x="915" y="915"/>
                    </a:cubicBezTo>
                    <a:cubicBezTo>
                      <a:pt x="1012" y="1014"/>
                      <a:pt x="1012" y="1014"/>
                      <a:pt x="1012" y="1014"/>
                    </a:cubicBezTo>
                    <a:cubicBezTo>
                      <a:pt x="1016" y="1018"/>
                      <a:pt x="1021" y="1020"/>
                      <a:pt x="1027" y="1021"/>
                    </a:cubicBezTo>
                    <a:cubicBezTo>
                      <a:pt x="1027" y="1021"/>
                      <a:pt x="1027" y="1021"/>
                      <a:pt x="1027" y="1021"/>
                    </a:cubicBezTo>
                    <a:cubicBezTo>
                      <a:pt x="1033" y="1021"/>
                      <a:pt x="1039" y="1018"/>
                      <a:pt x="1043" y="1014"/>
                    </a:cubicBezTo>
                    <a:cubicBezTo>
                      <a:pt x="1142" y="918"/>
                      <a:pt x="1142" y="918"/>
                      <a:pt x="1142" y="918"/>
                    </a:cubicBezTo>
                    <a:cubicBezTo>
                      <a:pt x="1151" y="909"/>
                      <a:pt x="1151" y="895"/>
                      <a:pt x="1142" y="887"/>
                    </a:cubicBezTo>
                    <a:cubicBezTo>
                      <a:pt x="1134" y="878"/>
                      <a:pt x="1120" y="878"/>
                      <a:pt x="1111" y="886"/>
                    </a:cubicBezTo>
                    <a:close/>
                    <a:moveTo>
                      <a:pt x="1383" y="1304"/>
                    </a:moveTo>
                    <a:cubicBezTo>
                      <a:pt x="1374" y="1295"/>
                      <a:pt x="1360" y="1295"/>
                      <a:pt x="1351" y="1304"/>
                    </a:cubicBezTo>
                    <a:cubicBezTo>
                      <a:pt x="1291" y="1362"/>
                      <a:pt x="1291" y="1362"/>
                      <a:pt x="1291" y="1362"/>
                    </a:cubicBezTo>
                    <a:cubicBezTo>
                      <a:pt x="1291" y="634"/>
                      <a:pt x="1291" y="634"/>
                      <a:pt x="1291" y="634"/>
                    </a:cubicBezTo>
                    <a:cubicBezTo>
                      <a:pt x="1291" y="628"/>
                      <a:pt x="1289" y="623"/>
                      <a:pt x="1285" y="618"/>
                    </a:cubicBezTo>
                    <a:cubicBezTo>
                      <a:pt x="1016" y="348"/>
                      <a:pt x="1016" y="348"/>
                      <a:pt x="1016" y="348"/>
                    </a:cubicBezTo>
                    <a:cubicBezTo>
                      <a:pt x="1016" y="22"/>
                      <a:pt x="1016" y="22"/>
                      <a:pt x="1016" y="22"/>
                    </a:cubicBezTo>
                    <a:cubicBezTo>
                      <a:pt x="1016" y="10"/>
                      <a:pt x="1006" y="0"/>
                      <a:pt x="994" y="0"/>
                    </a:cubicBezTo>
                    <a:cubicBezTo>
                      <a:pt x="982" y="0"/>
                      <a:pt x="972" y="10"/>
                      <a:pt x="972" y="22"/>
                    </a:cubicBezTo>
                    <a:cubicBezTo>
                      <a:pt x="972" y="357"/>
                      <a:pt x="972" y="357"/>
                      <a:pt x="972" y="357"/>
                    </a:cubicBezTo>
                    <a:cubicBezTo>
                      <a:pt x="972" y="363"/>
                      <a:pt x="975" y="368"/>
                      <a:pt x="979" y="373"/>
                    </a:cubicBezTo>
                    <a:cubicBezTo>
                      <a:pt x="1247" y="643"/>
                      <a:pt x="1247" y="643"/>
                      <a:pt x="1247" y="643"/>
                    </a:cubicBezTo>
                    <a:cubicBezTo>
                      <a:pt x="1247" y="1363"/>
                      <a:pt x="1247" y="1363"/>
                      <a:pt x="1247" y="1363"/>
                    </a:cubicBezTo>
                    <a:cubicBezTo>
                      <a:pt x="1187" y="1301"/>
                      <a:pt x="1187" y="1301"/>
                      <a:pt x="1187" y="1301"/>
                    </a:cubicBezTo>
                    <a:cubicBezTo>
                      <a:pt x="1179" y="1293"/>
                      <a:pt x="1165" y="1293"/>
                      <a:pt x="1156" y="1301"/>
                    </a:cubicBezTo>
                    <a:cubicBezTo>
                      <a:pt x="1147" y="1310"/>
                      <a:pt x="1147" y="1323"/>
                      <a:pt x="1155" y="1332"/>
                    </a:cubicBezTo>
                    <a:cubicBezTo>
                      <a:pt x="1252" y="1431"/>
                      <a:pt x="1252" y="1431"/>
                      <a:pt x="1252" y="1431"/>
                    </a:cubicBezTo>
                    <a:cubicBezTo>
                      <a:pt x="1256" y="1436"/>
                      <a:pt x="1262" y="1438"/>
                      <a:pt x="1268" y="1438"/>
                    </a:cubicBezTo>
                    <a:cubicBezTo>
                      <a:pt x="1268" y="1438"/>
                      <a:pt x="1268" y="1438"/>
                      <a:pt x="1268" y="1438"/>
                    </a:cubicBezTo>
                    <a:cubicBezTo>
                      <a:pt x="1268" y="1438"/>
                      <a:pt x="1269" y="1438"/>
                      <a:pt x="1269" y="1438"/>
                    </a:cubicBezTo>
                    <a:cubicBezTo>
                      <a:pt x="1277" y="1438"/>
                      <a:pt x="1284" y="1433"/>
                      <a:pt x="1288" y="1427"/>
                    </a:cubicBezTo>
                    <a:cubicBezTo>
                      <a:pt x="1382" y="1335"/>
                      <a:pt x="1382" y="1335"/>
                      <a:pt x="1382" y="1335"/>
                    </a:cubicBezTo>
                    <a:cubicBezTo>
                      <a:pt x="1391" y="1327"/>
                      <a:pt x="1391" y="1313"/>
                      <a:pt x="1383" y="1304"/>
                    </a:cubicBezTo>
                    <a:close/>
                  </a:path>
                </a:pathLst>
              </a:custGeom>
              <a:solidFill>
                <a:srgbClr val="283B85">
                  <a:lumMod val="10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751" tIns="60875" rIns="121751" bIns="6087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7524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7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2">
                      <a:lumMod val="75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Roboto Regular"/>
                </a:endParaRPr>
              </a:p>
            </p:txBody>
          </p: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id="{6B8AE4E4-9646-49AB-AFD2-4CB528364E9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17" y="2081"/>
                <a:ext cx="3125" cy="1986"/>
              </a:xfrm>
              <a:custGeom>
                <a:avLst/>
                <a:gdLst>
                  <a:gd name="T0" fmla="*/ 554 w 1668"/>
                  <a:gd name="T1" fmla="*/ 259 h 1059"/>
                  <a:gd name="T2" fmla="*/ 1072 w 1668"/>
                  <a:gd name="T3" fmla="*/ 259 h 1059"/>
                  <a:gd name="T4" fmla="*/ 956 w 1668"/>
                  <a:gd name="T5" fmla="*/ 273 h 1059"/>
                  <a:gd name="T6" fmla="*/ 927 w 1668"/>
                  <a:gd name="T7" fmla="*/ 331 h 1059"/>
                  <a:gd name="T8" fmla="*/ 917 w 1668"/>
                  <a:gd name="T9" fmla="*/ 367 h 1059"/>
                  <a:gd name="T10" fmla="*/ 856 w 1668"/>
                  <a:gd name="T11" fmla="*/ 423 h 1059"/>
                  <a:gd name="T12" fmla="*/ 848 w 1668"/>
                  <a:gd name="T13" fmla="*/ 431 h 1059"/>
                  <a:gd name="T14" fmla="*/ 724 w 1668"/>
                  <a:gd name="T15" fmla="*/ 403 h 1059"/>
                  <a:gd name="T16" fmla="*/ 679 w 1668"/>
                  <a:gd name="T17" fmla="*/ 168 h 1059"/>
                  <a:gd name="T18" fmla="*/ 940 w 1668"/>
                  <a:gd name="T19" fmla="*/ 107 h 1059"/>
                  <a:gd name="T20" fmla="*/ 918 w 1668"/>
                  <a:gd name="T21" fmla="*/ 152 h 1059"/>
                  <a:gd name="T22" fmla="*/ 919 w 1668"/>
                  <a:gd name="T23" fmla="*/ 186 h 1059"/>
                  <a:gd name="T24" fmla="*/ 927 w 1668"/>
                  <a:gd name="T25" fmla="*/ 218 h 1059"/>
                  <a:gd name="T26" fmla="*/ 942 w 1668"/>
                  <a:gd name="T27" fmla="*/ 246 h 1059"/>
                  <a:gd name="T28" fmla="*/ 1409 w 1668"/>
                  <a:gd name="T29" fmla="*/ 542 h 1059"/>
                  <a:gd name="T30" fmla="*/ 1409 w 1668"/>
                  <a:gd name="T31" fmla="*/ 1059 h 1059"/>
                  <a:gd name="T32" fmla="*/ 1409 w 1668"/>
                  <a:gd name="T33" fmla="*/ 542 h 1059"/>
                  <a:gd name="T34" fmla="*/ 1498 w 1668"/>
                  <a:gd name="T35" fmla="*/ 944 h 1059"/>
                  <a:gd name="T36" fmla="*/ 1374 w 1668"/>
                  <a:gd name="T37" fmla="*/ 972 h 1059"/>
                  <a:gd name="T38" fmla="*/ 1366 w 1668"/>
                  <a:gd name="T39" fmla="*/ 965 h 1059"/>
                  <a:gd name="T40" fmla="*/ 1305 w 1668"/>
                  <a:gd name="T41" fmla="*/ 909 h 1059"/>
                  <a:gd name="T42" fmla="*/ 1295 w 1668"/>
                  <a:gd name="T43" fmla="*/ 873 h 1059"/>
                  <a:gd name="T44" fmla="*/ 1266 w 1668"/>
                  <a:gd name="T45" fmla="*/ 815 h 1059"/>
                  <a:gd name="T46" fmla="*/ 1282 w 1668"/>
                  <a:gd name="T47" fmla="*/ 785 h 1059"/>
                  <a:gd name="T48" fmla="*/ 1298 w 1668"/>
                  <a:gd name="T49" fmla="*/ 747 h 1059"/>
                  <a:gd name="T50" fmla="*/ 1307 w 1668"/>
                  <a:gd name="T51" fmla="*/ 692 h 1059"/>
                  <a:gd name="T52" fmla="*/ 1303 w 1668"/>
                  <a:gd name="T53" fmla="*/ 692 h 1059"/>
                  <a:gd name="T54" fmla="*/ 1417 w 1668"/>
                  <a:gd name="T55" fmla="*/ 629 h 1059"/>
                  <a:gd name="T56" fmla="*/ 1498 w 1668"/>
                  <a:gd name="T57" fmla="*/ 868 h 1059"/>
                  <a:gd name="T58" fmla="*/ 0 w 1668"/>
                  <a:gd name="T59" fmla="*/ 721 h 1059"/>
                  <a:gd name="T60" fmla="*/ 518 w 1668"/>
                  <a:gd name="T61" fmla="*/ 721 h 1059"/>
                  <a:gd name="T62" fmla="*/ 406 w 1668"/>
                  <a:gd name="T63" fmla="*/ 737 h 1059"/>
                  <a:gd name="T64" fmla="*/ 376 w 1668"/>
                  <a:gd name="T65" fmla="*/ 775 h 1059"/>
                  <a:gd name="T66" fmla="*/ 327 w 1668"/>
                  <a:gd name="T67" fmla="*/ 826 h 1059"/>
                  <a:gd name="T68" fmla="*/ 304 w 1668"/>
                  <a:gd name="T69" fmla="*/ 882 h 1059"/>
                  <a:gd name="T70" fmla="*/ 289 w 1668"/>
                  <a:gd name="T71" fmla="*/ 890 h 1059"/>
                  <a:gd name="T72" fmla="*/ 202 w 1668"/>
                  <a:gd name="T73" fmla="*/ 863 h 1059"/>
                  <a:gd name="T74" fmla="*/ 132 w 1668"/>
                  <a:gd name="T75" fmla="*/ 627 h 1059"/>
                  <a:gd name="T76" fmla="*/ 371 w 1668"/>
                  <a:gd name="T77" fmla="*/ 606 h 1059"/>
                  <a:gd name="T78" fmla="*/ 377 w 1668"/>
                  <a:gd name="T79" fmla="*/ 654 h 1059"/>
                  <a:gd name="T80" fmla="*/ 394 w 1668"/>
                  <a:gd name="T81" fmla="*/ 709 h 10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668" h="1059">
                    <a:moveTo>
                      <a:pt x="813" y="0"/>
                    </a:moveTo>
                    <a:cubicBezTo>
                      <a:pt x="670" y="0"/>
                      <a:pt x="554" y="116"/>
                      <a:pt x="554" y="259"/>
                    </a:cubicBezTo>
                    <a:cubicBezTo>
                      <a:pt x="554" y="402"/>
                      <a:pt x="670" y="518"/>
                      <a:pt x="813" y="518"/>
                    </a:cubicBezTo>
                    <a:cubicBezTo>
                      <a:pt x="956" y="518"/>
                      <a:pt x="1072" y="402"/>
                      <a:pt x="1072" y="259"/>
                    </a:cubicBezTo>
                    <a:cubicBezTo>
                      <a:pt x="1072" y="116"/>
                      <a:pt x="956" y="0"/>
                      <a:pt x="813" y="0"/>
                    </a:cubicBezTo>
                    <a:close/>
                    <a:moveTo>
                      <a:pt x="956" y="273"/>
                    </a:moveTo>
                    <a:cubicBezTo>
                      <a:pt x="955" y="277"/>
                      <a:pt x="949" y="290"/>
                      <a:pt x="925" y="290"/>
                    </a:cubicBezTo>
                    <a:cubicBezTo>
                      <a:pt x="927" y="301"/>
                      <a:pt x="928" y="319"/>
                      <a:pt x="927" y="331"/>
                    </a:cubicBezTo>
                    <a:cubicBezTo>
                      <a:pt x="927" y="334"/>
                      <a:pt x="927" y="334"/>
                      <a:pt x="927" y="334"/>
                    </a:cubicBezTo>
                    <a:cubicBezTo>
                      <a:pt x="926" y="353"/>
                      <a:pt x="925" y="363"/>
                      <a:pt x="917" y="367"/>
                    </a:cubicBezTo>
                    <a:cubicBezTo>
                      <a:pt x="910" y="371"/>
                      <a:pt x="887" y="374"/>
                      <a:pt x="856" y="371"/>
                    </a:cubicBezTo>
                    <a:cubicBezTo>
                      <a:pt x="856" y="423"/>
                      <a:pt x="856" y="423"/>
                      <a:pt x="856" y="423"/>
                    </a:cubicBezTo>
                    <a:cubicBezTo>
                      <a:pt x="856" y="427"/>
                      <a:pt x="853" y="431"/>
                      <a:pt x="848" y="431"/>
                    </a:cubicBezTo>
                    <a:cubicBezTo>
                      <a:pt x="848" y="431"/>
                      <a:pt x="848" y="431"/>
                      <a:pt x="848" y="431"/>
                    </a:cubicBezTo>
                    <a:cubicBezTo>
                      <a:pt x="843" y="431"/>
                      <a:pt x="779" y="430"/>
                      <a:pt x="729" y="410"/>
                    </a:cubicBezTo>
                    <a:cubicBezTo>
                      <a:pt x="726" y="409"/>
                      <a:pt x="724" y="406"/>
                      <a:pt x="724" y="403"/>
                    </a:cubicBezTo>
                    <a:cubicBezTo>
                      <a:pt x="724" y="327"/>
                      <a:pt x="724" y="327"/>
                      <a:pt x="724" y="327"/>
                    </a:cubicBezTo>
                    <a:cubicBezTo>
                      <a:pt x="699" y="300"/>
                      <a:pt x="648" y="234"/>
                      <a:pt x="679" y="168"/>
                    </a:cubicBezTo>
                    <a:cubicBezTo>
                      <a:pt x="697" y="131"/>
                      <a:pt x="733" y="87"/>
                      <a:pt x="805" y="87"/>
                    </a:cubicBezTo>
                    <a:cubicBezTo>
                      <a:pt x="887" y="87"/>
                      <a:pt x="863" y="108"/>
                      <a:pt x="940" y="107"/>
                    </a:cubicBezTo>
                    <a:cubicBezTo>
                      <a:pt x="948" y="107"/>
                      <a:pt x="923" y="134"/>
                      <a:pt x="919" y="151"/>
                    </a:cubicBezTo>
                    <a:cubicBezTo>
                      <a:pt x="919" y="151"/>
                      <a:pt x="919" y="152"/>
                      <a:pt x="918" y="152"/>
                    </a:cubicBezTo>
                    <a:cubicBezTo>
                      <a:pt x="918" y="152"/>
                      <a:pt x="916" y="151"/>
                      <a:pt x="914" y="151"/>
                    </a:cubicBezTo>
                    <a:cubicBezTo>
                      <a:pt x="915" y="161"/>
                      <a:pt x="917" y="180"/>
                      <a:pt x="919" y="186"/>
                    </a:cubicBezTo>
                    <a:cubicBezTo>
                      <a:pt x="921" y="192"/>
                      <a:pt x="922" y="199"/>
                      <a:pt x="924" y="205"/>
                    </a:cubicBezTo>
                    <a:cubicBezTo>
                      <a:pt x="925" y="210"/>
                      <a:pt x="926" y="215"/>
                      <a:pt x="927" y="218"/>
                    </a:cubicBezTo>
                    <a:cubicBezTo>
                      <a:pt x="931" y="230"/>
                      <a:pt x="935" y="239"/>
                      <a:pt x="939" y="243"/>
                    </a:cubicBezTo>
                    <a:cubicBezTo>
                      <a:pt x="940" y="244"/>
                      <a:pt x="941" y="245"/>
                      <a:pt x="942" y="246"/>
                    </a:cubicBezTo>
                    <a:cubicBezTo>
                      <a:pt x="951" y="256"/>
                      <a:pt x="959" y="265"/>
                      <a:pt x="956" y="273"/>
                    </a:cubicBezTo>
                    <a:close/>
                    <a:moveTo>
                      <a:pt x="1409" y="542"/>
                    </a:moveTo>
                    <a:cubicBezTo>
                      <a:pt x="1266" y="542"/>
                      <a:pt x="1150" y="658"/>
                      <a:pt x="1150" y="800"/>
                    </a:cubicBezTo>
                    <a:cubicBezTo>
                      <a:pt x="1150" y="943"/>
                      <a:pt x="1266" y="1059"/>
                      <a:pt x="1409" y="1059"/>
                    </a:cubicBezTo>
                    <a:cubicBezTo>
                      <a:pt x="1552" y="1059"/>
                      <a:pt x="1668" y="943"/>
                      <a:pt x="1668" y="800"/>
                    </a:cubicBezTo>
                    <a:cubicBezTo>
                      <a:pt x="1668" y="658"/>
                      <a:pt x="1552" y="542"/>
                      <a:pt x="1409" y="542"/>
                    </a:cubicBezTo>
                    <a:close/>
                    <a:moveTo>
                      <a:pt x="1498" y="868"/>
                    </a:moveTo>
                    <a:cubicBezTo>
                      <a:pt x="1498" y="944"/>
                      <a:pt x="1498" y="944"/>
                      <a:pt x="1498" y="944"/>
                    </a:cubicBezTo>
                    <a:cubicBezTo>
                      <a:pt x="1498" y="947"/>
                      <a:pt x="1496" y="950"/>
                      <a:pt x="1493" y="951"/>
                    </a:cubicBezTo>
                    <a:cubicBezTo>
                      <a:pt x="1443" y="972"/>
                      <a:pt x="1379" y="972"/>
                      <a:pt x="1374" y="972"/>
                    </a:cubicBezTo>
                    <a:cubicBezTo>
                      <a:pt x="1373" y="972"/>
                      <a:pt x="1373" y="972"/>
                      <a:pt x="1373" y="972"/>
                    </a:cubicBezTo>
                    <a:cubicBezTo>
                      <a:pt x="1369" y="972"/>
                      <a:pt x="1366" y="969"/>
                      <a:pt x="1366" y="965"/>
                    </a:cubicBezTo>
                    <a:cubicBezTo>
                      <a:pt x="1366" y="912"/>
                      <a:pt x="1366" y="912"/>
                      <a:pt x="1366" y="912"/>
                    </a:cubicBezTo>
                    <a:cubicBezTo>
                      <a:pt x="1335" y="916"/>
                      <a:pt x="1311" y="912"/>
                      <a:pt x="1305" y="909"/>
                    </a:cubicBezTo>
                    <a:cubicBezTo>
                      <a:pt x="1297" y="905"/>
                      <a:pt x="1296" y="894"/>
                      <a:pt x="1295" y="875"/>
                    </a:cubicBezTo>
                    <a:cubicBezTo>
                      <a:pt x="1295" y="873"/>
                      <a:pt x="1295" y="873"/>
                      <a:pt x="1295" y="873"/>
                    </a:cubicBezTo>
                    <a:cubicBezTo>
                      <a:pt x="1294" y="861"/>
                      <a:pt x="1295" y="842"/>
                      <a:pt x="1296" y="832"/>
                    </a:cubicBezTo>
                    <a:cubicBezTo>
                      <a:pt x="1273" y="831"/>
                      <a:pt x="1267" y="819"/>
                      <a:pt x="1266" y="815"/>
                    </a:cubicBezTo>
                    <a:cubicBezTo>
                      <a:pt x="1263" y="806"/>
                      <a:pt x="1271" y="797"/>
                      <a:pt x="1280" y="788"/>
                    </a:cubicBezTo>
                    <a:cubicBezTo>
                      <a:pt x="1281" y="787"/>
                      <a:pt x="1282" y="786"/>
                      <a:pt x="1282" y="785"/>
                    </a:cubicBezTo>
                    <a:cubicBezTo>
                      <a:pt x="1286" y="780"/>
                      <a:pt x="1291" y="771"/>
                      <a:pt x="1295" y="760"/>
                    </a:cubicBezTo>
                    <a:cubicBezTo>
                      <a:pt x="1296" y="757"/>
                      <a:pt x="1297" y="752"/>
                      <a:pt x="1298" y="747"/>
                    </a:cubicBezTo>
                    <a:cubicBezTo>
                      <a:pt x="1300" y="740"/>
                      <a:pt x="1301" y="733"/>
                      <a:pt x="1303" y="728"/>
                    </a:cubicBezTo>
                    <a:cubicBezTo>
                      <a:pt x="1305" y="721"/>
                      <a:pt x="1307" y="702"/>
                      <a:pt x="1307" y="692"/>
                    </a:cubicBezTo>
                    <a:cubicBezTo>
                      <a:pt x="1306" y="692"/>
                      <a:pt x="1304" y="693"/>
                      <a:pt x="1303" y="693"/>
                    </a:cubicBezTo>
                    <a:cubicBezTo>
                      <a:pt x="1303" y="693"/>
                      <a:pt x="1303" y="693"/>
                      <a:pt x="1303" y="692"/>
                    </a:cubicBezTo>
                    <a:cubicBezTo>
                      <a:pt x="1299" y="675"/>
                      <a:pt x="1274" y="648"/>
                      <a:pt x="1282" y="648"/>
                    </a:cubicBezTo>
                    <a:cubicBezTo>
                      <a:pt x="1358" y="650"/>
                      <a:pt x="1334" y="629"/>
                      <a:pt x="1417" y="629"/>
                    </a:cubicBezTo>
                    <a:cubicBezTo>
                      <a:pt x="1489" y="629"/>
                      <a:pt x="1525" y="672"/>
                      <a:pt x="1543" y="709"/>
                    </a:cubicBezTo>
                    <a:cubicBezTo>
                      <a:pt x="1574" y="776"/>
                      <a:pt x="1523" y="842"/>
                      <a:pt x="1498" y="868"/>
                    </a:cubicBezTo>
                    <a:close/>
                    <a:moveTo>
                      <a:pt x="259" y="462"/>
                    </a:moveTo>
                    <a:cubicBezTo>
                      <a:pt x="116" y="462"/>
                      <a:pt x="0" y="578"/>
                      <a:pt x="0" y="721"/>
                    </a:cubicBezTo>
                    <a:cubicBezTo>
                      <a:pt x="0" y="864"/>
                      <a:pt x="116" y="980"/>
                      <a:pt x="259" y="980"/>
                    </a:cubicBezTo>
                    <a:cubicBezTo>
                      <a:pt x="402" y="980"/>
                      <a:pt x="518" y="864"/>
                      <a:pt x="518" y="721"/>
                    </a:cubicBezTo>
                    <a:cubicBezTo>
                      <a:pt x="518" y="578"/>
                      <a:pt x="402" y="462"/>
                      <a:pt x="259" y="462"/>
                    </a:cubicBezTo>
                    <a:close/>
                    <a:moveTo>
                      <a:pt x="406" y="737"/>
                    </a:moveTo>
                    <a:cubicBezTo>
                      <a:pt x="404" y="743"/>
                      <a:pt x="394" y="752"/>
                      <a:pt x="375" y="752"/>
                    </a:cubicBezTo>
                    <a:cubicBezTo>
                      <a:pt x="376" y="758"/>
                      <a:pt x="376" y="767"/>
                      <a:pt x="376" y="775"/>
                    </a:cubicBezTo>
                    <a:cubicBezTo>
                      <a:pt x="376" y="806"/>
                      <a:pt x="372" y="815"/>
                      <a:pt x="368" y="818"/>
                    </a:cubicBezTo>
                    <a:cubicBezTo>
                      <a:pt x="365" y="822"/>
                      <a:pt x="357" y="827"/>
                      <a:pt x="327" y="826"/>
                    </a:cubicBezTo>
                    <a:cubicBezTo>
                      <a:pt x="322" y="826"/>
                      <a:pt x="312" y="826"/>
                      <a:pt x="304" y="825"/>
                    </a:cubicBezTo>
                    <a:cubicBezTo>
                      <a:pt x="304" y="882"/>
                      <a:pt x="304" y="882"/>
                      <a:pt x="304" y="882"/>
                    </a:cubicBezTo>
                    <a:cubicBezTo>
                      <a:pt x="304" y="886"/>
                      <a:pt x="301" y="889"/>
                      <a:pt x="297" y="889"/>
                    </a:cubicBezTo>
                    <a:cubicBezTo>
                      <a:pt x="297" y="889"/>
                      <a:pt x="294" y="890"/>
                      <a:pt x="289" y="890"/>
                    </a:cubicBezTo>
                    <a:cubicBezTo>
                      <a:pt x="273" y="890"/>
                      <a:pt x="236" y="887"/>
                      <a:pt x="206" y="869"/>
                    </a:cubicBezTo>
                    <a:cubicBezTo>
                      <a:pt x="204" y="868"/>
                      <a:pt x="202" y="866"/>
                      <a:pt x="202" y="863"/>
                    </a:cubicBezTo>
                    <a:cubicBezTo>
                      <a:pt x="200" y="826"/>
                      <a:pt x="200" y="826"/>
                      <a:pt x="200" y="826"/>
                    </a:cubicBezTo>
                    <a:cubicBezTo>
                      <a:pt x="151" y="806"/>
                      <a:pt x="73" y="749"/>
                      <a:pt x="132" y="627"/>
                    </a:cubicBezTo>
                    <a:cubicBezTo>
                      <a:pt x="150" y="591"/>
                      <a:pt x="192" y="553"/>
                      <a:pt x="262" y="553"/>
                    </a:cubicBezTo>
                    <a:cubicBezTo>
                      <a:pt x="342" y="553"/>
                      <a:pt x="375" y="590"/>
                      <a:pt x="371" y="606"/>
                    </a:cubicBezTo>
                    <a:cubicBezTo>
                      <a:pt x="370" y="609"/>
                      <a:pt x="368" y="612"/>
                      <a:pt x="366" y="615"/>
                    </a:cubicBezTo>
                    <a:cubicBezTo>
                      <a:pt x="370" y="620"/>
                      <a:pt x="379" y="633"/>
                      <a:pt x="377" y="654"/>
                    </a:cubicBezTo>
                    <a:cubicBezTo>
                      <a:pt x="377" y="664"/>
                      <a:pt x="378" y="683"/>
                      <a:pt x="379" y="686"/>
                    </a:cubicBezTo>
                    <a:cubicBezTo>
                      <a:pt x="382" y="693"/>
                      <a:pt x="388" y="703"/>
                      <a:pt x="394" y="709"/>
                    </a:cubicBezTo>
                    <a:cubicBezTo>
                      <a:pt x="400" y="715"/>
                      <a:pt x="410" y="729"/>
                      <a:pt x="406" y="737"/>
                    </a:cubicBezTo>
                    <a:close/>
                  </a:path>
                </a:pathLst>
              </a:custGeom>
              <a:solidFill>
                <a:srgbClr val="5D78D1">
                  <a:lumMod val="10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751" tIns="60875" rIns="121751" bIns="6087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7524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7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2">
                      <a:lumMod val="75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Roboto Regular"/>
                </a:endParaRPr>
              </a:p>
            </p:txBody>
          </p:sp>
        </p:grpSp>
      </p:grpSp>
      <p:grpSp>
        <p:nvGrpSpPr>
          <p:cNvPr id="4" name="Группа 3"/>
          <p:cNvGrpSpPr/>
          <p:nvPr/>
        </p:nvGrpSpPr>
        <p:grpSpPr>
          <a:xfrm>
            <a:off x="9172066" y="980282"/>
            <a:ext cx="1298929" cy="1226939"/>
            <a:chOff x="9172066" y="941693"/>
            <a:chExt cx="1298929" cy="1226939"/>
          </a:xfrm>
        </p:grpSpPr>
        <p:sp>
          <p:nvSpPr>
            <p:cNvPr id="30" name="Oval 8"/>
            <p:cNvSpPr/>
            <p:nvPr/>
          </p:nvSpPr>
          <p:spPr>
            <a:xfrm>
              <a:off x="9172066" y="959412"/>
              <a:ext cx="1298929" cy="1191503"/>
            </a:xfrm>
            <a:prstGeom prst="ellipse">
              <a:avLst/>
            </a:prstGeom>
            <a:solidFill>
              <a:sysClr val="window" lastClr="FFFFFF"/>
            </a:solidFill>
            <a:ln w="38100" cap="flat" cmpd="sng" algn="ctr">
              <a:gradFill flip="none" rotWithShape="1">
                <a:gsLst>
                  <a:gs pos="0">
                    <a:srgbClr val="4D4D4D"/>
                  </a:gs>
                  <a:gs pos="100000">
                    <a:srgbClr val="D9D9D9"/>
                  </a:gs>
                </a:gsLst>
                <a:lin ang="2700000" scaled="1"/>
                <a:tileRect/>
              </a:gra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3" name="Группа 2"/>
            <p:cNvGrpSpPr/>
            <p:nvPr/>
          </p:nvGrpSpPr>
          <p:grpSpPr>
            <a:xfrm>
              <a:off x="9207965" y="941693"/>
              <a:ext cx="1227129" cy="1226939"/>
              <a:chOff x="7793171" y="1259468"/>
              <a:chExt cx="1227129" cy="1226939"/>
            </a:xfrm>
          </p:grpSpPr>
          <p:sp>
            <p:nvSpPr>
              <p:cNvPr id="20" name="AutoShape 542"/>
              <p:cNvSpPr>
                <a:spLocks noChangeAspect="1" noChangeArrowheads="1" noTextEdit="1"/>
              </p:cNvSpPr>
              <p:nvPr/>
            </p:nvSpPr>
            <p:spPr bwMode="auto">
              <a:xfrm flipH="1">
                <a:off x="7793171" y="1259468"/>
                <a:ext cx="1227129" cy="122693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751" tIns="60875" rIns="121751" bIns="6087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7524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7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2">
                      <a:lumMod val="75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Roboto Regular"/>
                </a:endParaRPr>
              </a:p>
            </p:txBody>
          </p:sp>
          <p:grpSp>
            <p:nvGrpSpPr>
              <p:cNvPr id="21" name="Group 11"/>
              <p:cNvGrpSpPr/>
              <p:nvPr/>
            </p:nvGrpSpPr>
            <p:grpSpPr>
              <a:xfrm flipH="1">
                <a:off x="8049301" y="1463958"/>
                <a:ext cx="714869" cy="817959"/>
                <a:chOff x="4104267" y="1146175"/>
                <a:chExt cx="3995159" cy="4572000"/>
              </a:xfrm>
            </p:grpSpPr>
            <p:sp>
              <p:nvSpPr>
                <p:cNvPr id="22" name="Freeform 12"/>
                <p:cNvSpPr>
                  <a:spLocks/>
                </p:cNvSpPr>
                <p:nvPr/>
              </p:nvSpPr>
              <p:spPr bwMode="auto">
                <a:xfrm>
                  <a:off x="4104267" y="1146175"/>
                  <a:ext cx="3995159" cy="4572000"/>
                </a:xfrm>
                <a:custGeom>
                  <a:avLst/>
                  <a:gdLst>
                    <a:gd name="connsiteX0" fmla="*/ 2975453 w 3995159"/>
                    <a:gd name="connsiteY0" fmla="*/ 1628168 h 4572000"/>
                    <a:gd name="connsiteX1" fmla="*/ 2997246 w 3995159"/>
                    <a:gd name="connsiteY1" fmla="*/ 1637085 h 4572000"/>
                    <a:gd name="connsiteX2" fmla="*/ 3012116 w 3995159"/>
                    <a:gd name="connsiteY2" fmla="*/ 1720316 h 4572000"/>
                    <a:gd name="connsiteX3" fmla="*/ 2702828 w 3995159"/>
                    <a:gd name="connsiteY3" fmla="*/ 2175111 h 4572000"/>
                    <a:gd name="connsiteX4" fmla="*/ 2652271 w 3995159"/>
                    <a:gd name="connsiteY4" fmla="*/ 2201863 h 4572000"/>
                    <a:gd name="connsiteX5" fmla="*/ 2619558 w 3995159"/>
                    <a:gd name="connsiteY5" fmla="*/ 2189973 h 4572000"/>
                    <a:gd name="connsiteX6" fmla="*/ 2604689 w 3995159"/>
                    <a:gd name="connsiteY6" fmla="*/ 2106743 h 4572000"/>
                    <a:gd name="connsiteX7" fmla="*/ 2913976 w 3995159"/>
                    <a:gd name="connsiteY7" fmla="*/ 1654920 h 4572000"/>
                    <a:gd name="connsiteX8" fmla="*/ 2975453 w 3995159"/>
                    <a:gd name="connsiteY8" fmla="*/ 1628168 h 4572000"/>
                    <a:gd name="connsiteX9" fmla="*/ 1881961 w 3995159"/>
                    <a:gd name="connsiteY9" fmla="*/ 1628168 h 4572000"/>
                    <a:gd name="connsiteX10" fmla="*/ 1943910 w 3995159"/>
                    <a:gd name="connsiteY10" fmla="*/ 1654920 h 4572000"/>
                    <a:gd name="connsiteX11" fmla="*/ 2256450 w 3995159"/>
                    <a:gd name="connsiteY11" fmla="*/ 2106743 h 4572000"/>
                    <a:gd name="connsiteX12" fmla="*/ 2241567 w 3995159"/>
                    <a:gd name="connsiteY12" fmla="*/ 2189973 h 4572000"/>
                    <a:gd name="connsiteX13" fmla="*/ 2208825 w 3995159"/>
                    <a:gd name="connsiteY13" fmla="*/ 2201863 h 4572000"/>
                    <a:gd name="connsiteX14" fmla="*/ 2155247 w 3995159"/>
                    <a:gd name="connsiteY14" fmla="*/ 2175111 h 4572000"/>
                    <a:gd name="connsiteX15" fmla="*/ 1842707 w 3995159"/>
                    <a:gd name="connsiteY15" fmla="*/ 1720316 h 4572000"/>
                    <a:gd name="connsiteX16" fmla="*/ 1860567 w 3995159"/>
                    <a:gd name="connsiteY16" fmla="*/ 1637085 h 4572000"/>
                    <a:gd name="connsiteX17" fmla="*/ 1881961 w 3995159"/>
                    <a:gd name="connsiteY17" fmla="*/ 1628168 h 4572000"/>
                    <a:gd name="connsiteX18" fmla="*/ 2429090 w 3995159"/>
                    <a:gd name="connsiteY18" fmla="*/ 1490663 h 4572000"/>
                    <a:gd name="connsiteX19" fmla="*/ 2488621 w 3995159"/>
                    <a:gd name="connsiteY19" fmla="*/ 1550213 h 4572000"/>
                    <a:gd name="connsiteX20" fmla="*/ 2488621 w 3995159"/>
                    <a:gd name="connsiteY20" fmla="*/ 2053413 h 4572000"/>
                    <a:gd name="connsiteX21" fmla="*/ 2429090 w 3995159"/>
                    <a:gd name="connsiteY21" fmla="*/ 2112963 h 4572000"/>
                    <a:gd name="connsiteX22" fmla="*/ 2369558 w 3995159"/>
                    <a:gd name="connsiteY22" fmla="*/ 2053413 h 4572000"/>
                    <a:gd name="connsiteX23" fmla="*/ 2369558 w 3995159"/>
                    <a:gd name="connsiteY23" fmla="*/ 1550213 h 4572000"/>
                    <a:gd name="connsiteX24" fmla="*/ 2429090 w 3995159"/>
                    <a:gd name="connsiteY24" fmla="*/ 1490663 h 4572000"/>
                    <a:gd name="connsiteX25" fmla="*/ 1471066 w 3995159"/>
                    <a:gd name="connsiteY25" fmla="*/ 128588 h 4572000"/>
                    <a:gd name="connsiteX26" fmla="*/ 1286567 w 3995159"/>
                    <a:gd name="connsiteY26" fmla="*/ 182152 h 4572000"/>
                    <a:gd name="connsiteX27" fmla="*/ 1102069 w 3995159"/>
                    <a:gd name="connsiteY27" fmla="*/ 241666 h 4572000"/>
                    <a:gd name="connsiteX28" fmla="*/ 694386 w 3995159"/>
                    <a:gd name="connsiteY28" fmla="*/ 464847 h 4572000"/>
                    <a:gd name="connsiteX29" fmla="*/ 512863 w 3995159"/>
                    <a:gd name="connsiteY29" fmla="*/ 866572 h 4572000"/>
                    <a:gd name="connsiteX30" fmla="*/ 483105 w 3995159"/>
                    <a:gd name="connsiteY30" fmla="*/ 1027262 h 4572000"/>
                    <a:gd name="connsiteX31" fmla="*/ 387880 w 3995159"/>
                    <a:gd name="connsiteY31" fmla="*/ 1634313 h 4572000"/>
                    <a:gd name="connsiteX32" fmla="*/ 188503 w 3995159"/>
                    <a:gd name="connsiteY32" fmla="*/ 2744265 h 4572000"/>
                    <a:gd name="connsiteX33" fmla="*/ 262897 w 3995159"/>
                    <a:gd name="connsiteY33" fmla="*/ 3678648 h 4572000"/>
                    <a:gd name="connsiteX34" fmla="*/ 346219 w 3995159"/>
                    <a:gd name="connsiteY34" fmla="*/ 3997052 h 4572000"/>
                    <a:gd name="connsiteX35" fmla="*/ 426566 w 3995159"/>
                    <a:gd name="connsiteY35" fmla="*/ 4229160 h 4572000"/>
                    <a:gd name="connsiteX36" fmla="*/ 661653 w 3995159"/>
                    <a:gd name="connsiteY36" fmla="*/ 4300578 h 4572000"/>
                    <a:gd name="connsiteX37" fmla="*/ 682483 w 3995159"/>
                    <a:gd name="connsiteY37" fmla="*/ 4303553 h 4572000"/>
                    <a:gd name="connsiteX38" fmla="*/ 741999 w 3995159"/>
                    <a:gd name="connsiteY38" fmla="*/ 4303553 h 4572000"/>
                    <a:gd name="connsiteX39" fmla="*/ 807466 w 3995159"/>
                    <a:gd name="connsiteY39" fmla="*/ 4300578 h 4572000"/>
                    <a:gd name="connsiteX40" fmla="*/ 938400 w 3995159"/>
                    <a:gd name="connsiteY40" fmla="*/ 4288675 h 4572000"/>
                    <a:gd name="connsiteX41" fmla="*/ 1295495 w 3995159"/>
                    <a:gd name="connsiteY41" fmla="*/ 4336287 h 4572000"/>
                    <a:gd name="connsiteX42" fmla="*/ 1420477 w 3995159"/>
                    <a:gd name="connsiteY42" fmla="*/ 4360092 h 4572000"/>
                    <a:gd name="connsiteX43" fmla="*/ 1542485 w 3995159"/>
                    <a:gd name="connsiteY43" fmla="*/ 4380923 h 4572000"/>
                    <a:gd name="connsiteX44" fmla="*/ 2045392 w 3995159"/>
                    <a:gd name="connsiteY44" fmla="*/ 4443413 h 4572000"/>
                    <a:gd name="connsiteX45" fmla="*/ 2194181 w 3995159"/>
                    <a:gd name="connsiteY45" fmla="*/ 4434486 h 4572000"/>
                    <a:gd name="connsiteX46" fmla="*/ 2881588 w 3995159"/>
                    <a:gd name="connsiteY46" fmla="*/ 4312481 h 4572000"/>
                    <a:gd name="connsiteX47" fmla="*/ 3202972 w 3995159"/>
                    <a:gd name="connsiteY47" fmla="*/ 4247014 h 4572000"/>
                    <a:gd name="connsiteX48" fmla="*/ 3345810 w 3995159"/>
                    <a:gd name="connsiteY48" fmla="*/ 4214281 h 4572000"/>
                    <a:gd name="connsiteX49" fmla="*/ 3601727 w 3995159"/>
                    <a:gd name="connsiteY49" fmla="*/ 4169645 h 4572000"/>
                    <a:gd name="connsiteX50" fmla="*/ 3658267 w 3995159"/>
                    <a:gd name="connsiteY50" fmla="*/ 4175596 h 4572000"/>
                    <a:gd name="connsiteX51" fmla="*/ 3699928 w 3995159"/>
                    <a:gd name="connsiteY51" fmla="*/ 4178572 h 4572000"/>
                    <a:gd name="connsiteX52" fmla="*/ 3818960 w 3995159"/>
                    <a:gd name="connsiteY52" fmla="*/ 4130960 h 4572000"/>
                    <a:gd name="connsiteX53" fmla="*/ 3866572 w 3995159"/>
                    <a:gd name="connsiteY53" fmla="*/ 3994076 h 4572000"/>
                    <a:gd name="connsiteX54" fmla="*/ 3863596 w 3995159"/>
                    <a:gd name="connsiteY54" fmla="*/ 2518108 h 4572000"/>
                    <a:gd name="connsiteX55" fmla="*/ 3759444 w 3995159"/>
                    <a:gd name="connsiteY55" fmla="*/ 2327661 h 4572000"/>
                    <a:gd name="connsiteX56" fmla="*/ 3429132 w 3995159"/>
                    <a:gd name="connsiteY56" fmla="*/ 2238389 h 4572000"/>
                    <a:gd name="connsiteX57" fmla="*/ 2911345 w 3995159"/>
                    <a:gd name="connsiteY57" fmla="*/ 2488351 h 4572000"/>
                    <a:gd name="connsiteX58" fmla="*/ 2863733 w 3995159"/>
                    <a:gd name="connsiteY58" fmla="*/ 2565720 h 4572000"/>
                    <a:gd name="connsiteX59" fmla="*/ 2396535 w 3995159"/>
                    <a:gd name="connsiteY59" fmla="*/ 2494303 h 4572000"/>
                    <a:gd name="connsiteX60" fmla="*/ 1860894 w 3995159"/>
                    <a:gd name="connsiteY60" fmla="*/ 2604405 h 4572000"/>
                    <a:gd name="connsiteX61" fmla="*/ 1718056 w 3995159"/>
                    <a:gd name="connsiteY61" fmla="*/ 2678798 h 4572000"/>
                    <a:gd name="connsiteX62" fmla="*/ 1509751 w 3995159"/>
                    <a:gd name="connsiteY62" fmla="*/ 2128286 h 4572000"/>
                    <a:gd name="connsiteX63" fmla="*/ 1411550 w 3995159"/>
                    <a:gd name="connsiteY63" fmla="*/ 1985451 h 4572000"/>
                    <a:gd name="connsiteX64" fmla="*/ 1357986 w 3995159"/>
                    <a:gd name="connsiteY64" fmla="*/ 1902130 h 4572000"/>
                    <a:gd name="connsiteX65" fmla="*/ 1316325 w 3995159"/>
                    <a:gd name="connsiteY65" fmla="*/ 1711683 h 4572000"/>
                    <a:gd name="connsiteX66" fmla="*/ 1346083 w 3995159"/>
                    <a:gd name="connsiteY66" fmla="*/ 1226637 h 4572000"/>
                    <a:gd name="connsiteX67" fmla="*/ 1393695 w 3995159"/>
                    <a:gd name="connsiteY67" fmla="*/ 1211758 h 4572000"/>
                    <a:gd name="connsiteX68" fmla="*/ 1509751 w 3995159"/>
                    <a:gd name="connsiteY68" fmla="*/ 1190928 h 4572000"/>
                    <a:gd name="connsiteX69" fmla="*/ 1670443 w 3995159"/>
                    <a:gd name="connsiteY69" fmla="*/ 1211758 h 4572000"/>
                    <a:gd name="connsiteX70" fmla="*/ 1715080 w 3995159"/>
                    <a:gd name="connsiteY70" fmla="*/ 1217710 h 4572000"/>
                    <a:gd name="connsiteX71" fmla="*/ 1962070 w 3995159"/>
                    <a:gd name="connsiteY71" fmla="*/ 1089753 h 4572000"/>
                    <a:gd name="connsiteX72" fmla="*/ 2003731 w 3995159"/>
                    <a:gd name="connsiteY72" fmla="*/ 940966 h 4572000"/>
                    <a:gd name="connsiteX73" fmla="*/ 2054320 w 3995159"/>
                    <a:gd name="connsiteY73" fmla="*/ 833839 h 4572000"/>
                    <a:gd name="connsiteX74" fmla="*/ 2060271 w 3995159"/>
                    <a:gd name="connsiteY74" fmla="*/ 827887 h 4572000"/>
                    <a:gd name="connsiteX75" fmla="*/ 2039441 w 3995159"/>
                    <a:gd name="connsiteY75" fmla="*/ 491629 h 4572000"/>
                    <a:gd name="connsiteX76" fmla="*/ 1848990 w 3995159"/>
                    <a:gd name="connsiteY76" fmla="*/ 333914 h 4572000"/>
                    <a:gd name="connsiteX77" fmla="*/ 1738886 w 3995159"/>
                    <a:gd name="connsiteY77" fmla="*/ 244642 h 4572000"/>
                    <a:gd name="connsiteX78" fmla="*/ 1471066 w 3995159"/>
                    <a:gd name="connsiteY78" fmla="*/ 128588 h 4572000"/>
                    <a:gd name="connsiteX79" fmla="*/ 1471034 w 3995159"/>
                    <a:gd name="connsiteY79" fmla="*/ 0 h 4572000"/>
                    <a:gd name="connsiteX80" fmla="*/ 1822269 w 3995159"/>
                    <a:gd name="connsiteY80" fmla="*/ 148828 h 4572000"/>
                    <a:gd name="connsiteX81" fmla="*/ 1926448 w 3995159"/>
                    <a:gd name="connsiteY81" fmla="*/ 232172 h 4572000"/>
                    <a:gd name="connsiteX82" fmla="*/ 2128854 w 3995159"/>
                    <a:gd name="connsiteY82" fmla="*/ 401836 h 4572000"/>
                    <a:gd name="connsiteX83" fmla="*/ 2158620 w 3995159"/>
                    <a:gd name="connsiteY83" fmla="*/ 907852 h 4572000"/>
                    <a:gd name="connsiteX84" fmla="*/ 2155644 w 3995159"/>
                    <a:gd name="connsiteY84" fmla="*/ 913805 h 4572000"/>
                    <a:gd name="connsiteX85" fmla="*/ 2131831 w 3995159"/>
                    <a:gd name="connsiteY85" fmla="*/ 940594 h 4572000"/>
                    <a:gd name="connsiteX86" fmla="*/ 2063370 w 3995159"/>
                    <a:gd name="connsiteY86" fmla="*/ 1169789 h 4572000"/>
                    <a:gd name="connsiteX87" fmla="*/ 1715112 w 3995159"/>
                    <a:gd name="connsiteY87" fmla="*/ 1345406 h 4572000"/>
                    <a:gd name="connsiteX88" fmla="*/ 1637722 w 3995159"/>
                    <a:gd name="connsiteY88" fmla="*/ 1336477 h 4572000"/>
                    <a:gd name="connsiteX89" fmla="*/ 1509729 w 3995159"/>
                    <a:gd name="connsiteY89" fmla="*/ 1315641 h 4572000"/>
                    <a:gd name="connsiteX90" fmla="*/ 1471034 w 3995159"/>
                    <a:gd name="connsiteY90" fmla="*/ 1321594 h 4572000"/>
                    <a:gd name="connsiteX91" fmla="*/ 1444245 w 3995159"/>
                    <a:gd name="connsiteY91" fmla="*/ 1726406 h 4572000"/>
                    <a:gd name="connsiteX92" fmla="*/ 1465081 w 3995159"/>
                    <a:gd name="connsiteY92" fmla="*/ 1830586 h 4572000"/>
                    <a:gd name="connsiteX93" fmla="*/ 1521636 w 3995159"/>
                    <a:gd name="connsiteY93" fmla="*/ 1919883 h 4572000"/>
                    <a:gd name="connsiteX94" fmla="*/ 1604979 w 3995159"/>
                    <a:gd name="connsiteY94" fmla="*/ 2044899 h 4572000"/>
                    <a:gd name="connsiteX95" fmla="*/ 1819292 w 3995159"/>
                    <a:gd name="connsiteY95" fmla="*/ 2485430 h 4572000"/>
                    <a:gd name="connsiteX96" fmla="*/ 2396745 w 3995159"/>
                    <a:gd name="connsiteY96" fmla="*/ 2369344 h 4572000"/>
                    <a:gd name="connsiteX97" fmla="*/ 2804534 w 3995159"/>
                    <a:gd name="connsiteY97" fmla="*/ 2416969 h 4572000"/>
                    <a:gd name="connsiteX98" fmla="*/ 2813464 w 3995159"/>
                    <a:gd name="connsiteY98" fmla="*/ 2408039 h 4572000"/>
                    <a:gd name="connsiteX99" fmla="*/ 3429612 w 3995159"/>
                    <a:gd name="connsiteY99" fmla="*/ 2110383 h 4572000"/>
                    <a:gd name="connsiteX100" fmla="*/ 3822519 w 3995159"/>
                    <a:gd name="connsiteY100" fmla="*/ 2214563 h 4572000"/>
                    <a:gd name="connsiteX101" fmla="*/ 3992183 w 3995159"/>
                    <a:gd name="connsiteY101" fmla="*/ 2518172 h 4572000"/>
                    <a:gd name="connsiteX102" fmla="*/ 3995159 w 3995159"/>
                    <a:gd name="connsiteY102" fmla="*/ 3994547 h 4572000"/>
                    <a:gd name="connsiteX103" fmla="*/ 3908839 w 3995159"/>
                    <a:gd name="connsiteY103" fmla="*/ 4223742 h 4572000"/>
                    <a:gd name="connsiteX104" fmla="*/ 3700479 w 3995159"/>
                    <a:gd name="connsiteY104" fmla="*/ 4304110 h 4572000"/>
                    <a:gd name="connsiteX105" fmla="*/ 3640948 w 3995159"/>
                    <a:gd name="connsiteY105" fmla="*/ 4301133 h 4572000"/>
                    <a:gd name="connsiteX106" fmla="*/ 3602253 w 3995159"/>
                    <a:gd name="connsiteY106" fmla="*/ 4298156 h 4572000"/>
                    <a:gd name="connsiteX107" fmla="*/ 3379011 w 3995159"/>
                    <a:gd name="connsiteY107" fmla="*/ 4336852 h 4572000"/>
                    <a:gd name="connsiteX108" fmla="*/ 3227206 w 3995159"/>
                    <a:gd name="connsiteY108" fmla="*/ 4372571 h 4572000"/>
                    <a:gd name="connsiteX109" fmla="*/ 2908714 w 3995159"/>
                    <a:gd name="connsiteY109" fmla="*/ 4438055 h 4572000"/>
                    <a:gd name="connsiteX110" fmla="*/ 2209222 w 3995159"/>
                    <a:gd name="connsiteY110" fmla="*/ 4563071 h 4572000"/>
                    <a:gd name="connsiteX111" fmla="*/ 2045511 w 3995159"/>
                    <a:gd name="connsiteY111" fmla="*/ 4572000 h 4572000"/>
                    <a:gd name="connsiteX112" fmla="*/ 1518659 w 3995159"/>
                    <a:gd name="connsiteY112" fmla="*/ 4506516 h 4572000"/>
                    <a:gd name="connsiteX113" fmla="*/ 1399597 w 3995159"/>
                    <a:gd name="connsiteY113" fmla="*/ 4485680 h 4572000"/>
                    <a:gd name="connsiteX114" fmla="*/ 1271604 w 3995159"/>
                    <a:gd name="connsiteY114" fmla="*/ 4461867 h 4572000"/>
                    <a:gd name="connsiteX115" fmla="*/ 938230 w 3995159"/>
                    <a:gd name="connsiteY115" fmla="*/ 4417219 h 4572000"/>
                    <a:gd name="connsiteX116" fmla="*/ 831073 w 3995159"/>
                    <a:gd name="connsiteY116" fmla="*/ 4426149 h 4572000"/>
                    <a:gd name="connsiteX117" fmla="*/ 741776 w 3995159"/>
                    <a:gd name="connsiteY117" fmla="*/ 4432102 h 4572000"/>
                    <a:gd name="connsiteX118" fmla="*/ 673315 w 3995159"/>
                    <a:gd name="connsiteY118" fmla="*/ 4429125 h 4572000"/>
                    <a:gd name="connsiteX119" fmla="*/ 655456 w 3995159"/>
                    <a:gd name="connsiteY119" fmla="*/ 4429125 h 4572000"/>
                    <a:gd name="connsiteX120" fmla="*/ 336964 w 3995159"/>
                    <a:gd name="connsiteY120" fmla="*/ 4318992 h 4572000"/>
                    <a:gd name="connsiteX121" fmla="*/ 220878 w 3995159"/>
                    <a:gd name="connsiteY121" fmla="*/ 4006453 h 4572000"/>
                    <a:gd name="connsiteX122" fmla="*/ 155394 w 3995159"/>
                    <a:gd name="connsiteY122" fmla="*/ 3747492 h 4572000"/>
                    <a:gd name="connsiteX123" fmla="*/ 612 w 3995159"/>
                    <a:gd name="connsiteY123" fmla="*/ 3214688 h 4572000"/>
                    <a:gd name="connsiteX124" fmla="*/ 66097 w 3995159"/>
                    <a:gd name="connsiteY124" fmla="*/ 2714625 h 4572000"/>
                    <a:gd name="connsiteX125" fmla="*/ 262550 w 3995159"/>
                    <a:gd name="connsiteY125" fmla="*/ 1616274 h 4572000"/>
                    <a:gd name="connsiteX126" fmla="*/ 357800 w 3995159"/>
                    <a:gd name="connsiteY126" fmla="*/ 1006078 h 4572000"/>
                    <a:gd name="connsiteX127" fmla="*/ 390542 w 3995159"/>
                    <a:gd name="connsiteY127" fmla="*/ 839391 h 4572000"/>
                    <a:gd name="connsiteX128" fmla="*/ 598901 w 3995159"/>
                    <a:gd name="connsiteY128" fmla="*/ 381000 h 4572000"/>
                    <a:gd name="connsiteX129" fmla="*/ 1078128 w 3995159"/>
                    <a:gd name="connsiteY129" fmla="*/ 113110 h 4572000"/>
                    <a:gd name="connsiteX130" fmla="*/ 1223979 w 3995159"/>
                    <a:gd name="connsiteY130" fmla="*/ 68461 h 4572000"/>
                    <a:gd name="connsiteX131" fmla="*/ 1471034 w 3995159"/>
                    <a:gd name="connsiteY131" fmla="*/ 0 h 4572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</a:cxnLst>
                  <a:rect l="l" t="t" r="r" b="b"/>
                  <a:pathLst>
                    <a:path w="3995159" h="4572000">
                      <a:moveTo>
                        <a:pt x="2975453" y="1628168"/>
                      </a:moveTo>
                      <a:cubicBezTo>
                        <a:pt x="2983120" y="1629654"/>
                        <a:pt x="2990555" y="1632626"/>
                        <a:pt x="2997246" y="1637085"/>
                      </a:cubicBezTo>
                      <a:cubicBezTo>
                        <a:pt x="3024011" y="1657893"/>
                        <a:pt x="3029959" y="1693563"/>
                        <a:pt x="3012116" y="1720316"/>
                      </a:cubicBezTo>
                      <a:cubicBezTo>
                        <a:pt x="2702828" y="2175111"/>
                        <a:pt x="2702828" y="2175111"/>
                        <a:pt x="2702828" y="2175111"/>
                      </a:cubicBezTo>
                      <a:cubicBezTo>
                        <a:pt x="2690932" y="2192946"/>
                        <a:pt x="2673089" y="2201863"/>
                        <a:pt x="2652271" y="2201863"/>
                      </a:cubicBezTo>
                      <a:cubicBezTo>
                        <a:pt x="2640376" y="2201863"/>
                        <a:pt x="2628480" y="2195918"/>
                        <a:pt x="2619558" y="2189973"/>
                      </a:cubicBezTo>
                      <a:cubicBezTo>
                        <a:pt x="2592793" y="2172138"/>
                        <a:pt x="2583871" y="2133495"/>
                        <a:pt x="2604689" y="2106743"/>
                      </a:cubicBezTo>
                      <a:cubicBezTo>
                        <a:pt x="2913976" y="1654920"/>
                        <a:pt x="2913976" y="1654920"/>
                        <a:pt x="2913976" y="1654920"/>
                      </a:cubicBezTo>
                      <a:cubicBezTo>
                        <a:pt x="2927359" y="1632626"/>
                        <a:pt x="2952451" y="1623709"/>
                        <a:pt x="2975453" y="1628168"/>
                      </a:cubicBezTo>
                      <a:close/>
                      <a:moveTo>
                        <a:pt x="1881961" y="1628168"/>
                      </a:moveTo>
                      <a:cubicBezTo>
                        <a:pt x="1904285" y="1623709"/>
                        <a:pt x="1928283" y="1632626"/>
                        <a:pt x="1943910" y="1654920"/>
                      </a:cubicBezTo>
                      <a:cubicBezTo>
                        <a:pt x="2256450" y="2106743"/>
                        <a:pt x="2256450" y="2106743"/>
                        <a:pt x="2256450" y="2106743"/>
                      </a:cubicBezTo>
                      <a:cubicBezTo>
                        <a:pt x="2274309" y="2133495"/>
                        <a:pt x="2268356" y="2172138"/>
                        <a:pt x="2241567" y="2189973"/>
                      </a:cubicBezTo>
                      <a:cubicBezTo>
                        <a:pt x="2229661" y="2195918"/>
                        <a:pt x="2217754" y="2201863"/>
                        <a:pt x="2208825" y="2201863"/>
                      </a:cubicBezTo>
                      <a:cubicBezTo>
                        <a:pt x="2187989" y="2201863"/>
                        <a:pt x="2170129" y="2192946"/>
                        <a:pt x="2155247" y="2175111"/>
                      </a:cubicBezTo>
                      <a:cubicBezTo>
                        <a:pt x="1842707" y="1720316"/>
                        <a:pt x="1842707" y="1720316"/>
                        <a:pt x="1842707" y="1720316"/>
                      </a:cubicBezTo>
                      <a:cubicBezTo>
                        <a:pt x="1821871" y="1693563"/>
                        <a:pt x="1830801" y="1657893"/>
                        <a:pt x="1860567" y="1637085"/>
                      </a:cubicBezTo>
                      <a:cubicBezTo>
                        <a:pt x="1867264" y="1632626"/>
                        <a:pt x="1874519" y="1629654"/>
                        <a:pt x="1881961" y="1628168"/>
                      </a:cubicBezTo>
                      <a:close/>
                      <a:moveTo>
                        <a:pt x="2429090" y="1490663"/>
                      </a:moveTo>
                      <a:cubicBezTo>
                        <a:pt x="2461832" y="1490663"/>
                        <a:pt x="2488621" y="1517461"/>
                        <a:pt x="2488621" y="1550213"/>
                      </a:cubicBezTo>
                      <a:cubicBezTo>
                        <a:pt x="2488621" y="2053413"/>
                        <a:pt x="2488621" y="2053413"/>
                        <a:pt x="2488621" y="2053413"/>
                      </a:cubicBezTo>
                      <a:cubicBezTo>
                        <a:pt x="2488621" y="2086166"/>
                        <a:pt x="2461832" y="2112963"/>
                        <a:pt x="2429090" y="2112963"/>
                      </a:cubicBezTo>
                      <a:cubicBezTo>
                        <a:pt x="2396347" y="2112963"/>
                        <a:pt x="2369558" y="2086166"/>
                        <a:pt x="2369558" y="2053413"/>
                      </a:cubicBezTo>
                      <a:cubicBezTo>
                        <a:pt x="2369558" y="1550213"/>
                        <a:pt x="2369558" y="1550213"/>
                        <a:pt x="2369558" y="1550213"/>
                      </a:cubicBezTo>
                      <a:cubicBezTo>
                        <a:pt x="2369558" y="1517461"/>
                        <a:pt x="2396347" y="1490663"/>
                        <a:pt x="2429090" y="1490663"/>
                      </a:cubicBezTo>
                      <a:close/>
                      <a:moveTo>
                        <a:pt x="1471066" y="128588"/>
                      </a:moveTo>
                      <a:cubicBezTo>
                        <a:pt x="1408574" y="128588"/>
                        <a:pt x="1349059" y="146443"/>
                        <a:pt x="1286567" y="182152"/>
                      </a:cubicBezTo>
                      <a:cubicBezTo>
                        <a:pt x="1238955" y="205957"/>
                        <a:pt x="1179439" y="226788"/>
                        <a:pt x="1102069" y="241666"/>
                      </a:cubicBezTo>
                      <a:cubicBezTo>
                        <a:pt x="932449" y="271424"/>
                        <a:pt x="795563" y="345817"/>
                        <a:pt x="694386" y="464847"/>
                      </a:cubicBezTo>
                      <a:cubicBezTo>
                        <a:pt x="608088" y="566022"/>
                        <a:pt x="548573" y="696955"/>
                        <a:pt x="512863" y="866572"/>
                      </a:cubicBezTo>
                      <a:cubicBezTo>
                        <a:pt x="500960" y="926087"/>
                        <a:pt x="492033" y="979650"/>
                        <a:pt x="483105" y="1027262"/>
                      </a:cubicBezTo>
                      <a:cubicBezTo>
                        <a:pt x="447396" y="1232588"/>
                        <a:pt x="417638" y="1437914"/>
                        <a:pt x="387880" y="1634313"/>
                      </a:cubicBezTo>
                      <a:cubicBezTo>
                        <a:pt x="334316" y="2000330"/>
                        <a:pt x="277776" y="2381224"/>
                        <a:pt x="188503" y="2744265"/>
                      </a:cubicBezTo>
                      <a:cubicBezTo>
                        <a:pt x="114108" y="3047790"/>
                        <a:pt x="72447" y="3372146"/>
                        <a:pt x="262897" y="3678648"/>
                      </a:cubicBezTo>
                      <a:cubicBezTo>
                        <a:pt x="322413" y="3767920"/>
                        <a:pt x="337292" y="3869095"/>
                        <a:pt x="346219" y="3997052"/>
                      </a:cubicBezTo>
                      <a:cubicBezTo>
                        <a:pt x="355147" y="4089300"/>
                        <a:pt x="364074" y="4169645"/>
                        <a:pt x="426566" y="4229160"/>
                      </a:cubicBezTo>
                      <a:cubicBezTo>
                        <a:pt x="489057" y="4288675"/>
                        <a:pt x="569403" y="4297602"/>
                        <a:pt x="661653" y="4300578"/>
                      </a:cubicBezTo>
                      <a:cubicBezTo>
                        <a:pt x="667604" y="4300578"/>
                        <a:pt x="673556" y="4300578"/>
                        <a:pt x="682483" y="4303553"/>
                      </a:cubicBezTo>
                      <a:cubicBezTo>
                        <a:pt x="700338" y="4303553"/>
                        <a:pt x="721168" y="4303553"/>
                        <a:pt x="741999" y="4303553"/>
                      </a:cubicBezTo>
                      <a:cubicBezTo>
                        <a:pt x="765805" y="4303553"/>
                        <a:pt x="786635" y="4303553"/>
                        <a:pt x="807466" y="4300578"/>
                      </a:cubicBezTo>
                      <a:cubicBezTo>
                        <a:pt x="849127" y="4291650"/>
                        <a:pt x="893764" y="4288675"/>
                        <a:pt x="938400" y="4288675"/>
                      </a:cubicBezTo>
                      <a:cubicBezTo>
                        <a:pt x="1054456" y="4288675"/>
                        <a:pt x="1173487" y="4312481"/>
                        <a:pt x="1295495" y="4336287"/>
                      </a:cubicBezTo>
                      <a:cubicBezTo>
                        <a:pt x="1337156" y="4342238"/>
                        <a:pt x="1378817" y="4351165"/>
                        <a:pt x="1420477" y="4360092"/>
                      </a:cubicBezTo>
                      <a:cubicBezTo>
                        <a:pt x="1462138" y="4366044"/>
                        <a:pt x="1503799" y="4374971"/>
                        <a:pt x="1542485" y="4380923"/>
                      </a:cubicBezTo>
                      <a:cubicBezTo>
                        <a:pt x="1703177" y="4410680"/>
                        <a:pt x="1869821" y="4443413"/>
                        <a:pt x="2045392" y="4443413"/>
                      </a:cubicBezTo>
                      <a:cubicBezTo>
                        <a:pt x="2095981" y="4443413"/>
                        <a:pt x="2146569" y="4440438"/>
                        <a:pt x="2194181" y="4434486"/>
                      </a:cubicBezTo>
                      <a:cubicBezTo>
                        <a:pt x="2429268" y="4407704"/>
                        <a:pt x="2658404" y="4360092"/>
                        <a:pt x="2881588" y="4312481"/>
                      </a:cubicBezTo>
                      <a:cubicBezTo>
                        <a:pt x="2988716" y="4288675"/>
                        <a:pt x="3095844" y="4267844"/>
                        <a:pt x="3202972" y="4247014"/>
                      </a:cubicBezTo>
                      <a:cubicBezTo>
                        <a:pt x="3253561" y="4238087"/>
                        <a:pt x="3301173" y="4226184"/>
                        <a:pt x="3345810" y="4214281"/>
                      </a:cubicBezTo>
                      <a:cubicBezTo>
                        <a:pt x="3435083" y="4190475"/>
                        <a:pt x="3521381" y="4169645"/>
                        <a:pt x="3601727" y="4169645"/>
                      </a:cubicBezTo>
                      <a:cubicBezTo>
                        <a:pt x="3619582" y="4169645"/>
                        <a:pt x="3640413" y="4172621"/>
                        <a:pt x="3658267" y="4175596"/>
                      </a:cubicBezTo>
                      <a:cubicBezTo>
                        <a:pt x="3673146" y="4175596"/>
                        <a:pt x="3688025" y="4178572"/>
                        <a:pt x="3699928" y="4178572"/>
                      </a:cubicBezTo>
                      <a:cubicBezTo>
                        <a:pt x="3762420" y="4178572"/>
                        <a:pt x="3798129" y="4151790"/>
                        <a:pt x="3818960" y="4130960"/>
                      </a:cubicBezTo>
                      <a:cubicBezTo>
                        <a:pt x="3866572" y="4083348"/>
                        <a:pt x="3866572" y="4023834"/>
                        <a:pt x="3866572" y="3994076"/>
                      </a:cubicBezTo>
                      <a:cubicBezTo>
                        <a:pt x="3863596" y="3491176"/>
                        <a:pt x="3863596" y="2985300"/>
                        <a:pt x="3863596" y="2518108"/>
                      </a:cubicBezTo>
                      <a:cubicBezTo>
                        <a:pt x="3863596" y="2485375"/>
                        <a:pt x="3863596" y="2384200"/>
                        <a:pt x="3759444" y="2327661"/>
                      </a:cubicBezTo>
                      <a:cubicBezTo>
                        <a:pt x="3658267" y="2268146"/>
                        <a:pt x="3542212" y="2238389"/>
                        <a:pt x="3429132" y="2238389"/>
                      </a:cubicBezTo>
                      <a:cubicBezTo>
                        <a:pt x="3229754" y="2238389"/>
                        <a:pt x="3039304" y="2330637"/>
                        <a:pt x="2911345" y="2488351"/>
                      </a:cubicBezTo>
                      <a:cubicBezTo>
                        <a:pt x="2896466" y="2506205"/>
                        <a:pt x="2875636" y="2532987"/>
                        <a:pt x="2863733" y="2565720"/>
                      </a:cubicBezTo>
                      <a:cubicBezTo>
                        <a:pt x="2711968" y="2521084"/>
                        <a:pt x="2551275" y="2494303"/>
                        <a:pt x="2396535" y="2494303"/>
                      </a:cubicBezTo>
                      <a:cubicBezTo>
                        <a:pt x="2203109" y="2494303"/>
                        <a:pt x="2024562" y="2532987"/>
                        <a:pt x="1860894" y="2604405"/>
                      </a:cubicBezTo>
                      <a:cubicBezTo>
                        <a:pt x="1810305" y="2625235"/>
                        <a:pt x="1762693" y="2652017"/>
                        <a:pt x="1718056" y="2678798"/>
                      </a:cubicBezTo>
                      <a:cubicBezTo>
                        <a:pt x="1700201" y="2491327"/>
                        <a:pt x="1655564" y="2294928"/>
                        <a:pt x="1509751" y="2128286"/>
                      </a:cubicBezTo>
                      <a:cubicBezTo>
                        <a:pt x="1474042" y="2086626"/>
                        <a:pt x="1444284" y="2039014"/>
                        <a:pt x="1411550" y="1985451"/>
                      </a:cubicBezTo>
                      <a:cubicBezTo>
                        <a:pt x="1393695" y="1958669"/>
                        <a:pt x="1378817" y="1928912"/>
                        <a:pt x="1357986" y="1902130"/>
                      </a:cubicBezTo>
                      <a:cubicBezTo>
                        <a:pt x="1322277" y="1845591"/>
                        <a:pt x="1307398" y="1783100"/>
                        <a:pt x="1316325" y="1711683"/>
                      </a:cubicBezTo>
                      <a:cubicBezTo>
                        <a:pt x="1334180" y="1559920"/>
                        <a:pt x="1343107" y="1402205"/>
                        <a:pt x="1346083" y="1226637"/>
                      </a:cubicBezTo>
                      <a:cubicBezTo>
                        <a:pt x="1360962" y="1223661"/>
                        <a:pt x="1378817" y="1217710"/>
                        <a:pt x="1393695" y="1211758"/>
                      </a:cubicBezTo>
                      <a:cubicBezTo>
                        <a:pt x="1429405" y="1196879"/>
                        <a:pt x="1468090" y="1190928"/>
                        <a:pt x="1509751" y="1190928"/>
                      </a:cubicBezTo>
                      <a:cubicBezTo>
                        <a:pt x="1554388" y="1190928"/>
                        <a:pt x="1602000" y="1196879"/>
                        <a:pt x="1670443" y="1211758"/>
                      </a:cubicBezTo>
                      <a:cubicBezTo>
                        <a:pt x="1682347" y="1217710"/>
                        <a:pt x="1697225" y="1217710"/>
                        <a:pt x="1715080" y="1217710"/>
                      </a:cubicBezTo>
                      <a:cubicBezTo>
                        <a:pt x="1807329" y="1217710"/>
                        <a:pt x="1911482" y="1152243"/>
                        <a:pt x="1962070" y="1089753"/>
                      </a:cubicBezTo>
                      <a:cubicBezTo>
                        <a:pt x="2015634" y="1027262"/>
                        <a:pt x="2009683" y="967747"/>
                        <a:pt x="2003731" y="940966"/>
                      </a:cubicBezTo>
                      <a:cubicBezTo>
                        <a:pt x="1997780" y="911208"/>
                        <a:pt x="2006707" y="896329"/>
                        <a:pt x="2054320" y="833839"/>
                      </a:cubicBezTo>
                      <a:cubicBezTo>
                        <a:pt x="2054320" y="833839"/>
                        <a:pt x="2054320" y="833839"/>
                        <a:pt x="2060271" y="827887"/>
                      </a:cubicBezTo>
                      <a:cubicBezTo>
                        <a:pt x="2149545" y="717785"/>
                        <a:pt x="2140617" y="592804"/>
                        <a:pt x="2039441" y="491629"/>
                      </a:cubicBezTo>
                      <a:cubicBezTo>
                        <a:pt x="1976949" y="432114"/>
                        <a:pt x="1911482" y="381526"/>
                        <a:pt x="1848990" y="333914"/>
                      </a:cubicBezTo>
                      <a:cubicBezTo>
                        <a:pt x="1810305" y="304157"/>
                        <a:pt x="1774596" y="274399"/>
                        <a:pt x="1738886" y="244642"/>
                      </a:cubicBezTo>
                      <a:cubicBezTo>
                        <a:pt x="1682347" y="194054"/>
                        <a:pt x="1590097" y="128588"/>
                        <a:pt x="1471066" y="128588"/>
                      </a:cubicBezTo>
                      <a:close/>
                      <a:moveTo>
                        <a:pt x="1471034" y="0"/>
                      </a:moveTo>
                      <a:cubicBezTo>
                        <a:pt x="1652604" y="0"/>
                        <a:pt x="1780597" y="113110"/>
                        <a:pt x="1822269" y="148828"/>
                      </a:cubicBezTo>
                      <a:cubicBezTo>
                        <a:pt x="1855011" y="175617"/>
                        <a:pt x="1890729" y="202406"/>
                        <a:pt x="1926448" y="232172"/>
                      </a:cubicBezTo>
                      <a:cubicBezTo>
                        <a:pt x="1991933" y="282774"/>
                        <a:pt x="2063370" y="336352"/>
                        <a:pt x="2128854" y="401836"/>
                      </a:cubicBezTo>
                      <a:cubicBezTo>
                        <a:pt x="2277683" y="550664"/>
                        <a:pt x="2289589" y="744141"/>
                        <a:pt x="2158620" y="907852"/>
                      </a:cubicBezTo>
                      <a:cubicBezTo>
                        <a:pt x="2158620" y="907852"/>
                        <a:pt x="2158620" y="907852"/>
                        <a:pt x="2155644" y="913805"/>
                      </a:cubicBezTo>
                      <a:cubicBezTo>
                        <a:pt x="2143737" y="925711"/>
                        <a:pt x="2137784" y="934641"/>
                        <a:pt x="2131831" y="940594"/>
                      </a:cubicBezTo>
                      <a:cubicBezTo>
                        <a:pt x="2140761" y="997149"/>
                        <a:pt x="2134808" y="1080492"/>
                        <a:pt x="2063370" y="1169789"/>
                      </a:cubicBezTo>
                      <a:cubicBezTo>
                        <a:pt x="1991933" y="1256110"/>
                        <a:pt x="1852034" y="1345406"/>
                        <a:pt x="1715112" y="1345406"/>
                      </a:cubicBezTo>
                      <a:cubicBezTo>
                        <a:pt x="1688323" y="1345406"/>
                        <a:pt x="1664511" y="1342430"/>
                        <a:pt x="1637722" y="1336477"/>
                      </a:cubicBezTo>
                      <a:cubicBezTo>
                        <a:pt x="1584144" y="1321594"/>
                        <a:pt x="1542472" y="1315641"/>
                        <a:pt x="1509729" y="1315641"/>
                      </a:cubicBezTo>
                      <a:cubicBezTo>
                        <a:pt x="1494847" y="1315641"/>
                        <a:pt x="1482940" y="1318617"/>
                        <a:pt x="1471034" y="1321594"/>
                      </a:cubicBezTo>
                      <a:cubicBezTo>
                        <a:pt x="1468058" y="1464469"/>
                        <a:pt x="1459128" y="1598414"/>
                        <a:pt x="1444245" y="1726406"/>
                      </a:cubicBezTo>
                      <a:cubicBezTo>
                        <a:pt x="1438292" y="1768078"/>
                        <a:pt x="1444245" y="1800820"/>
                        <a:pt x="1465081" y="1830586"/>
                      </a:cubicBezTo>
                      <a:cubicBezTo>
                        <a:pt x="1485917" y="1860352"/>
                        <a:pt x="1503776" y="1890117"/>
                        <a:pt x="1521636" y="1919883"/>
                      </a:cubicBezTo>
                      <a:cubicBezTo>
                        <a:pt x="1548425" y="1967508"/>
                        <a:pt x="1578190" y="2012156"/>
                        <a:pt x="1604979" y="2044899"/>
                      </a:cubicBezTo>
                      <a:cubicBezTo>
                        <a:pt x="1727019" y="2184797"/>
                        <a:pt x="1786550" y="2339578"/>
                        <a:pt x="1819292" y="2485430"/>
                      </a:cubicBezTo>
                      <a:cubicBezTo>
                        <a:pt x="1991933" y="2408039"/>
                        <a:pt x="2188386" y="2369344"/>
                        <a:pt x="2396745" y="2369344"/>
                      </a:cubicBezTo>
                      <a:cubicBezTo>
                        <a:pt x="2530690" y="2369344"/>
                        <a:pt x="2670589" y="2384227"/>
                        <a:pt x="2804534" y="2416969"/>
                      </a:cubicBezTo>
                      <a:cubicBezTo>
                        <a:pt x="2807511" y="2413992"/>
                        <a:pt x="2810487" y="2411016"/>
                        <a:pt x="2813464" y="2408039"/>
                      </a:cubicBezTo>
                      <a:cubicBezTo>
                        <a:pt x="2965269" y="2220516"/>
                        <a:pt x="3191487" y="2110383"/>
                        <a:pt x="3429612" y="2110383"/>
                      </a:cubicBezTo>
                      <a:cubicBezTo>
                        <a:pt x="3566534" y="2110383"/>
                        <a:pt x="3700479" y="2146102"/>
                        <a:pt x="3822519" y="2214563"/>
                      </a:cubicBezTo>
                      <a:cubicBezTo>
                        <a:pt x="3899909" y="2259211"/>
                        <a:pt x="3992183" y="2345531"/>
                        <a:pt x="3992183" y="2518172"/>
                      </a:cubicBezTo>
                      <a:cubicBezTo>
                        <a:pt x="3992183" y="2985492"/>
                        <a:pt x="3992183" y="3491508"/>
                        <a:pt x="3995159" y="3994547"/>
                      </a:cubicBezTo>
                      <a:cubicBezTo>
                        <a:pt x="3995159" y="4033242"/>
                        <a:pt x="3995159" y="4137422"/>
                        <a:pt x="3908839" y="4223742"/>
                      </a:cubicBezTo>
                      <a:cubicBezTo>
                        <a:pt x="3855261" y="4277321"/>
                        <a:pt x="3783823" y="4304110"/>
                        <a:pt x="3700479" y="4304110"/>
                      </a:cubicBezTo>
                      <a:cubicBezTo>
                        <a:pt x="3682620" y="4304110"/>
                        <a:pt x="3661784" y="4304110"/>
                        <a:pt x="3640948" y="4301133"/>
                      </a:cubicBezTo>
                      <a:cubicBezTo>
                        <a:pt x="3629042" y="4298156"/>
                        <a:pt x="3614159" y="4298156"/>
                        <a:pt x="3602253" y="4298156"/>
                      </a:cubicBezTo>
                      <a:cubicBezTo>
                        <a:pt x="3536769" y="4298156"/>
                        <a:pt x="3459378" y="4318992"/>
                        <a:pt x="3379011" y="4336852"/>
                      </a:cubicBezTo>
                      <a:cubicBezTo>
                        <a:pt x="3331386" y="4348758"/>
                        <a:pt x="3280784" y="4360664"/>
                        <a:pt x="3227206" y="4372571"/>
                      </a:cubicBezTo>
                      <a:cubicBezTo>
                        <a:pt x="3123026" y="4390430"/>
                        <a:pt x="3012894" y="4414242"/>
                        <a:pt x="2908714" y="4438055"/>
                      </a:cubicBezTo>
                      <a:cubicBezTo>
                        <a:pt x="2682495" y="4485680"/>
                        <a:pt x="2450323" y="4533305"/>
                        <a:pt x="2209222" y="4563071"/>
                      </a:cubicBezTo>
                      <a:cubicBezTo>
                        <a:pt x="2155644" y="4569024"/>
                        <a:pt x="2102065" y="4572000"/>
                        <a:pt x="2045511" y="4572000"/>
                      </a:cubicBezTo>
                      <a:cubicBezTo>
                        <a:pt x="1857987" y="4572000"/>
                        <a:pt x="1685347" y="4539258"/>
                        <a:pt x="1518659" y="4506516"/>
                      </a:cubicBezTo>
                      <a:cubicBezTo>
                        <a:pt x="1479964" y="4500563"/>
                        <a:pt x="1438292" y="4491633"/>
                        <a:pt x="1399597" y="4485680"/>
                      </a:cubicBezTo>
                      <a:cubicBezTo>
                        <a:pt x="1354948" y="4476750"/>
                        <a:pt x="1313276" y="4467821"/>
                        <a:pt x="1271604" y="4461867"/>
                      </a:cubicBezTo>
                      <a:cubicBezTo>
                        <a:pt x="1152542" y="4438055"/>
                        <a:pt x="1042409" y="4417219"/>
                        <a:pt x="938230" y="4417219"/>
                      </a:cubicBezTo>
                      <a:cubicBezTo>
                        <a:pt x="899534" y="4417219"/>
                        <a:pt x="863815" y="4420196"/>
                        <a:pt x="831073" y="4426149"/>
                      </a:cubicBezTo>
                      <a:cubicBezTo>
                        <a:pt x="801308" y="4429125"/>
                        <a:pt x="774519" y="4432102"/>
                        <a:pt x="741776" y="4432102"/>
                      </a:cubicBezTo>
                      <a:cubicBezTo>
                        <a:pt x="714987" y="4432102"/>
                        <a:pt x="691175" y="4432102"/>
                        <a:pt x="673315" y="4429125"/>
                      </a:cubicBezTo>
                      <a:cubicBezTo>
                        <a:pt x="667362" y="4429125"/>
                        <a:pt x="661409" y="4429125"/>
                        <a:pt x="655456" y="4429125"/>
                      </a:cubicBezTo>
                      <a:cubicBezTo>
                        <a:pt x="569136" y="4423172"/>
                        <a:pt x="438167" y="4417219"/>
                        <a:pt x="336964" y="4318992"/>
                      </a:cubicBezTo>
                      <a:cubicBezTo>
                        <a:pt x="235761" y="4220766"/>
                        <a:pt x="226831" y="4092774"/>
                        <a:pt x="220878" y="4006453"/>
                      </a:cubicBezTo>
                      <a:cubicBezTo>
                        <a:pt x="211948" y="3899297"/>
                        <a:pt x="200042" y="3812977"/>
                        <a:pt x="155394" y="3747492"/>
                      </a:cubicBezTo>
                      <a:cubicBezTo>
                        <a:pt x="57167" y="3586758"/>
                        <a:pt x="3589" y="3411141"/>
                        <a:pt x="612" y="3214688"/>
                      </a:cubicBezTo>
                      <a:cubicBezTo>
                        <a:pt x="-5341" y="3030141"/>
                        <a:pt x="33354" y="2851547"/>
                        <a:pt x="66097" y="2714625"/>
                      </a:cubicBezTo>
                      <a:cubicBezTo>
                        <a:pt x="152417" y="2354461"/>
                        <a:pt x="208972" y="1979414"/>
                        <a:pt x="262550" y="1616274"/>
                      </a:cubicBezTo>
                      <a:cubicBezTo>
                        <a:pt x="292315" y="1416844"/>
                        <a:pt x="322081" y="1211461"/>
                        <a:pt x="357800" y="1006078"/>
                      </a:cubicBezTo>
                      <a:cubicBezTo>
                        <a:pt x="366730" y="955477"/>
                        <a:pt x="375659" y="901899"/>
                        <a:pt x="390542" y="839391"/>
                      </a:cubicBezTo>
                      <a:cubicBezTo>
                        <a:pt x="429237" y="648891"/>
                        <a:pt x="497698" y="500063"/>
                        <a:pt x="598901" y="381000"/>
                      </a:cubicBezTo>
                      <a:cubicBezTo>
                        <a:pt x="717964" y="241102"/>
                        <a:pt x="878698" y="151805"/>
                        <a:pt x="1078128" y="113110"/>
                      </a:cubicBezTo>
                      <a:cubicBezTo>
                        <a:pt x="1140636" y="104180"/>
                        <a:pt x="1191237" y="86320"/>
                        <a:pt x="1223979" y="68461"/>
                      </a:cubicBezTo>
                      <a:cubicBezTo>
                        <a:pt x="1304347" y="23813"/>
                        <a:pt x="1387690" y="0"/>
                        <a:pt x="1471034" y="0"/>
                      </a:cubicBezTo>
                      <a:close/>
                    </a:path>
                  </a:pathLst>
                </a:custGeom>
                <a:solidFill>
                  <a:srgbClr val="283B85">
                    <a:lumMod val="100000"/>
                  </a:srgbClr>
                </a:solidFill>
                <a:ln>
                  <a:noFill/>
                </a:ln>
              </p:spPr>
              <p:txBody>
                <a:bodyPr vert="horz" wrap="square" lIns="121751" tIns="60875" rIns="121751" bIns="60875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1217524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7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tx2">
                        <a:lumMod val="75000"/>
                      </a:schemeClr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  <a:sym typeface="Roboto Regular"/>
                  </a:endParaRPr>
                </a:p>
              </p:txBody>
            </p:sp>
            <p:sp>
              <p:nvSpPr>
                <p:cNvPr id="23" name="Freeform 546"/>
                <p:cNvSpPr>
                  <a:spLocks/>
                </p:cNvSpPr>
                <p:nvPr/>
              </p:nvSpPr>
              <p:spPr bwMode="auto">
                <a:xfrm>
                  <a:off x="4306894" y="1374775"/>
                  <a:ext cx="3533772" cy="4102100"/>
                </a:xfrm>
                <a:custGeom>
                  <a:avLst/>
                  <a:gdLst>
                    <a:gd name="T0" fmla="*/ 358 w 1187"/>
                    <a:gd name="T1" fmla="*/ 291 h 1378"/>
                    <a:gd name="T2" fmla="*/ 341 w 1187"/>
                    <a:gd name="T3" fmla="*/ 303 h 1378"/>
                    <a:gd name="T4" fmla="*/ 332 w 1187"/>
                    <a:gd name="T5" fmla="*/ 493 h 1378"/>
                    <a:gd name="T6" fmla="*/ 353 w 1187"/>
                    <a:gd name="T7" fmla="*/ 585 h 1378"/>
                    <a:gd name="T8" fmla="*/ 407 w 1187"/>
                    <a:gd name="T9" fmla="*/ 666 h 1378"/>
                    <a:gd name="T10" fmla="*/ 469 w 1187"/>
                    <a:gd name="T11" fmla="*/ 846 h 1378"/>
                    <a:gd name="T12" fmla="*/ 453 w 1187"/>
                    <a:gd name="T13" fmla="*/ 892 h 1378"/>
                    <a:gd name="T14" fmla="*/ 404 w 1187"/>
                    <a:gd name="T15" fmla="*/ 954 h 1378"/>
                    <a:gd name="T16" fmla="*/ 399 w 1187"/>
                    <a:gd name="T17" fmla="*/ 961 h 1378"/>
                    <a:gd name="T18" fmla="*/ 420 w 1187"/>
                    <a:gd name="T19" fmla="*/ 974 h 1378"/>
                    <a:gd name="T20" fmla="*/ 435 w 1187"/>
                    <a:gd name="T21" fmla="*/ 954 h 1378"/>
                    <a:gd name="T22" fmla="*/ 888 w 1187"/>
                    <a:gd name="T23" fmla="*/ 828 h 1378"/>
                    <a:gd name="T24" fmla="*/ 978 w 1187"/>
                    <a:gd name="T25" fmla="*/ 903 h 1378"/>
                    <a:gd name="T26" fmla="*/ 1001 w 1187"/>
                    <a:gd name="T27" fmla="*/ 895 h 1378"/>
                    <a:gd name="T28" fmla="*/ 948 w 1187"/>
                    <a:gd name="T29" fmla="*/ 825 h 1378"/>
                    <a:gd name="T30" fmla="*/ 942 w 1187"/>
                    <a:gd name="T31" fmla="*/ 786 h 1378"/>
                    <a:gd name="T32" fmla="*/ 1173 w 1187"/>
                    <a:gd name="T33" fmla="*/ 742 h 1378"/>
                    <a:gd name="T34" fmla="*/ 1186 w 1187"/>
                    <a:gd name="T35" fmla="*/ 769 h 1378"/>
                    <a:gd name="T36" fmla="*/ 1187 w 1187"/>
                    <a:gd name="T37" fmla="*/ 1263 h 1378"/>
                    <a:gd name="T38" fmla="*/ 1166 w 1187"/>
                    <a:gd name="T39" fmla="*/ 1281 h 1378"/>
                    <a:gd name="T40" fmla="*/ 999 w 1187"/>
                    <a:gd name="T41" fmla="*/ 1306 h 1378"/>
                    <a:gd name="T42" fmla="*/ 663 w 1187"/>
                    <a:gd name="T43" fmla="*/ 1369 h 1378"/>
                    <a:gd name="T44" fmla="*/ 417 w 1187"/>
                    <a:gd name="T45" fmla="*/ 1344 h 1378"/>
                    <a:gd name="T46" fmla="*/ 196 w 1187"/>
                    <a:gd name="T47" fmla="*/ 1324 h 1378"/>
                    <a:gd name="T48" fmla="*/ 156 w 1187"/>
                    <a:gd name="T49" fmla="*/ 1324 h 1378"/>
                    <a:gd name="T50" fmla="*/ 91 w 1187"/>
                    <a:gd name="T51" fmla="*/ 1261 h 1378"/>
                    <a:gd name="T52" fmla="*/ 57 w 1187"/>
                    <a:gd name="T53" fmla="*/ 1134 h 1378"/>
                    <a:gd name="T54" fmla="*/ 37 w 1187"/>
                    <a:gd name="T55" fmla="*/ 855 h 1378"/>
                    <a:gd name="T56" fmla="*/ 136 w 1187"/>
                    <a:gd name="T57" fmla="*/ 277 h 1378"/>
                    <a:gd name="T58" fmla="*/ 146 w 1187"/>
                    <a:gd name="T59" fmla="*/ 224 h 1378"/>
                    <a:gd name="T60" fmla="*/ 310 w 1187"/>
                    <a:gd name="T61" fmla="*/ 48 h 1378"/>
                    <a:gd name="T62" fmla="*/ 385 w 1187"/>
                    <a:gd name="T63" fmla="*/ 23 h 1378"/>
                    <a:gd name="T64" fmla="*/ 488 w 1187"/>
                    <a:gd name="T65" fmla="*/ 40 h 1378"/>
                    <a:gd name="T66" fmla="*/ 586 w 1187"/>
                    <a:gd name="T67" fmla="*/ 120 h 1378"/>
                    <a:gd name="T68" fmla="*/ 590 w 1187"/>
                    <a:gd name="T69" fmla="*/ 176 h 1378"/>
                    <a:gd name="T70" fmla="*/ 563 w 1187"/>
                    <a:gd name="T71" fmla="*/ 249 h 1378"/>
                    <a:gd name="T72" fmla="*/ 503 w 1187"/>
                    <a:gd name="T73" fmla="*/ 289 h 1378"/>
                    <a:gd name="T74" fmla="*/ 383 w 1187"/>
                    <a:gd name="T75" fmla="*/ 291 h 1378"/>
                    <a:gd name="T76" fmla="*/ 358 w 1187"/>
                    <a:gd name="T77" fmla="*/ 291 h 13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1187" h="1378">
                      <a:moveTo>
                        <a:pt x="358" y="291"/>
                      </a:moveTo>
                      <a:cubicBezTo>
                        <a:pt x="350" y="287"/>
                        <a:pt x="341" y="294"/>
                        <a:pt x="341" y="303"/>
                      </a:cubicBezTo>
                      <a:cubicBezTo>
                        <a:pt x="342" y="369"/>
                        <a:pt x="339" y="431"/>
                        <a:pt x="332" y="493"/>
                      </a:cubicBezTo>
                      <a:cubicBezTo>
                        <a:pt x="328" y="526"/>
                        <a:pt x="334" y="557"/>
                        <a:pt x="353" y="585"/>
                      </a:cubicBezTo>
                      <a:cubicBezTo>
                        <a:pt x="371" y="612"/>
                        <a:pt x="386" y="642"/>
                        <a:pt x="407" y="666"/>
                      </a:cubicBezTo>
                      <a:cubicBezTo>
                        <a:pt x="453" y="718"/>
                        <a:pt x="463" y="781"/>
                        <a:pt x="469" y="846"/>
                      </a:cubicBezTo>
                      <a:cubicBezTo>
                        <a:pt x="470" y="865"/>
                        <a:pt x="465" y="878"/>
                        <a:pt x="453" y="892"/>
                      </a:cubicBezTo>
                      <a:cubicBezTo>
                        <a:pt x="436" y="912"/>
                        <a:pt x="421" y="934"/>
                        <a:pt x="404" y="954"/>
                      </a:cubicBezTo>
                      <a:cubicBezTo>
                        <a:pt x="402" y="956"/>
                        <a:pt x="401" y="959"/>
                        <a:pt x="399" y="961"/>
                      </a:cubicBezTo>
                      <a:cubicBezTo>
                        <a:pt x="391" y="973"/>
                        <a:pt x="411" y="987"/>
                        <a:pt x="420" y="974"/>
                      </a:cubicBezTo>
                      <a:cubicBezTo>
                        <a:pt x="425" y="967"/>
                        <a:pt x="430" y="961"/>
                        <a:pt x="435" y="954"/>
                      </a:cubicBezTo>
                      <a:cubicBezTo>
                        <a:pt x="552" y="785"/>
                        <a:pt x="755" y="785"/>
                        <a:pt x="888" y="828"/>
                      </a:cubicBezTo>
                      <a:cubicBezTo>
                        <a:pt x="928" y="841"/>
                        <a:pt x="956" y="867"/>
                        <a:pt x="978" y="903"/>
                      </a:cubicBezTo>
                      <a:cubicBezTo>
                        <a:pt x="985" y="915"/>
                        <a:pt x="1003" y="908"/>
                        <a:pt x="1001" y="895"/>
                      </a:cubicBezTo>
                      <a:cubicBezTo>
                        <a:pt x="995" y="864"/>
                        <a:pt x="978" y="841"/>
                        <a:pt x="948" y="825"/>
                      </a:cubicBezTo>
                      <a:cubicBezTo>
                        <a:pt x="924" y="813"/>
                        <a:pt x="929" y="803"/>
                        <a:pt x="942" y="786"/>
                      </a:cubicBezTo>
                      <a:cubicBezTo>
                        <a:pt x="999" y="716"/>
                        <a:pt x="1094" y="697"/>
                        <a:pt x="1173" y="742"/>
                      </a:cubicBezTo>
                      <a:cubicBezTo>
                        <a:pt x="1185" y="749"/>
                        <a:pt x="1186" y="757"/>
                        <a:pt x="1186" y="769"/>
                      </a:cubicBezTo>
                      <a:cubicBezTo>
                        <a:pt x="1186" y="934"/>
                        <a:pt x="1187" y="1098"/>
                        <a:pt x="1187" y="1263"/>
                      </a:cubicBezTo>
                      <a:cubicBezTo>
                        <a:pt x="1187" y="1279"/>
                        <a:pt x="1186" y="1284"/>
                        <a:pt x="1166" y="1281"/>
                      </a:cubicBezTo>
                      <a:cubicBezTo>
                        <a:pt x="1109" y="1273"/>
                        <a:pt x="1055" y="1295"/>
                        <a:pt x="999" y="1306"/>
                      </a:cubicBezTo>
                      <a:cubicBezTo>
                        <a:pt x="887" y="1327"/>
                        <a:pt x="777" y="1355"/>
                        <a:pt x="663" y="1369"/>
                      </a:cubicBezTo>
                      <a:cubicBezTo>
                        <a:pt x="579" y="1378"/>
                        <a:pt x="498" y="1358"/>
                        <a:pt x="417" y="1344"/>
                      </a:cubicBezTo>
                      <a:cubicBezTo>
                        <a:pt x="343" y="1331"/>
                        <a:pt x="271" y="1310"/>
                        <a:pt x="196" y="1324"/>
                      </a:cubicBezTo>
                      <a:cubicBezTo>
                        <a:pt x="183" y="1326"/>
                        <a:pt x="169" y="1324"/>
                        <a:pt x="156" y="1324"/>
                      </a:cubicBezTo>
                      <a:cubicBezTo>
                        <a:pt x="102" y="1321"/>
                        <a:pt x="95" y="1314"/>
                        <a:pt x="91" y="1261"/>
                      </a:cubicBezTo>
                      <a:cubicBezTo>
                        <a:pt x="88" y="1216"/>
                        <a:pt x="81" y="1173"/>
                        <a:pt x="57" y="1134"/>
                      </a:cubicBezTo>
                      <a:cubicBezTo>
                        <a:pt x="0" y="1044"/>
                        <a:pt x="14" y="949"/>
                        <a:pt x="37" y="855"/>
                      </a:cubicBezTo>
                      <a:cubicBezTo>
                        <a:pt x="83" y="664"/>
                        <a:pt x="102" y="469"/>
                        <a:pt x="136" y="277"/>
                      </a:cubicBezTo>
                      <a:cubicBezTo>
                        <a:pt x="139" y="259"/>
                        <a:pt x="143" y="241"/>
                        <a:pt x="146" y="224"/>
                      </a:cubicBezTo>
                      <a:cubicBezTo>
                        <a:pt x="165" y="133"/>
                        <a:pt x="210" y="66"/>
                        <a:pt x="310" y="48"/>
                      </a:cubicBezTo>
                      <a:cubicBezTo>
                        <a:pt x="335" y="43"/>
                        <a:pt x="362" y="36"/>
                        <a:pt x="385" y="23"/>
                      </a:cubicBezTo>
                      <a:cubicBezTo>
                        <a:pt x="425" y="0"/>
                        <a:pt x="456" y="12"/>
                        <a:pt x="488" y="40"/>
                      </a:cubicBezTo>
                      <a:cubicBezTo>
                        <a:pt x="520" y="67"/>
                        <a:pt x="556" y="90"/>
                        <a:pt x="586" y="120"/>
                      </a:cubicBezTo>
                      <a:cubicBezTo>
                        <a:pt x="604" y="138"/>
                        <a:pt x="607" y="155"/>
                        <a:pt x="590" y="176"/>
                      </a:cubicBezTo>
                      <a:cubicBezTo>
                        <a:pt x="573" y="197"/>
                        <a:pt x="555" y="218"/>
                        <a:pt x="563" y="249"/>
                      </a:cubicBezTo>
                      <a:cubicBezTo>
                        <a:pt x="566" y="265"/>
                        <a:pt x="523" y="294"/>
                        <a:pt x="503" y="289"/>
                      </a:cubicBezTo>
                      <a:cubicBezTo>
                        <a:pt x="463" y="279"/>
                        <a:pt x="423" y="274"/>
                        <a:pt x="383" y="291"/>
                      </a:cubicBezTo>
                      <a:cubicBezTo>
                        <a:pt x="374" y="294"/>
                        <a:pt x="366" y="294"/>
                        <a:pt x="358" y="291"/>
                      </a:cubicBezTo>
                      <a:close/>
                    </a:path>
                  </a:pathLst>
                </a:custGeom>
                <a:solidFill>
                  <a:srgbClr val="5D78D1">
                    <a:lumMod val="100000"/>
                  </a:srgbClr>
                </a:solidFill>
                <a:ln>
                  <a:noFill/>
                </a:ln>
              </p:spPr>
              <p:txBody>
                <a:bodyPr vert="horz" wrap="square" lIns="121751" tIns="60875" rIns="121751" bIns="6087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7524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97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tx2">
                        <a:lumMod val="75000"/>
                      </a:schemeClr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  <a:sym typeface="Roboto Regular"/>
                  </a:endParaRPr>
                </a:p>
              </p:txBody>
            </p:sp>
          </p:grpSp>
        </p:grpSp>
      </p:grpSp>
      <p:sp>
        <p:nvSpPr>
          <p:cNvPr id="24" name="Rectangle 24"/>
          <p:cNvSpPr/>
          <p:nvPr/>
        </p:nvSpPr>
        <p:spPr>
          <a:xfrm flipH="1">
            <a:off x="4286126" y="2312330"/>
            <a:ext cx="3319005" cy="2843727"/>
          </a:xfrm>
          <a:prstGeom prst="rect">
            <a:avLst/>
          </a:prstGeom>
          <a:noFill/>
          <a:ln w="9525" cap="rnd" cmpd="sng" algn="ctr">
            <a:noFill/>
            <a:prstDash val="sysDot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defTabSz="12175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1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ru-RU" sz="1598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Roboto Regular"/>
              </a:rPr>
              <a:t>Доступ к населению:</a:t>
            </a:r>
            <a:r>
              <a:rPr kumimoji="0" lang="ru-RU" sz="1598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Roboto Regular"/>
              </a:rPr>
              <a:t> </a:t>
            </a:r>
          </a:p>
          <a:p>
            <a:pPr marL="228286" indent="-228286" defTabSz="1217524">
              <a:spcAft>
                <a:spcPts val="601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1598" kern="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Roboto Regular"/>
              </a:rPr>
              <a:t>120 000 почтальонов </a:t>
            </a:r>
            <a:r>
              <a:rPr lang="ru-RU" sz="1598" kern="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Roboto Regular"/>
              </a:rPr>
              <a:t>и </a:t>
            </a:r>
            <a:r>
              <a:rPr lang="ru-RU" sz="1598" kern="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Roboto Regular"/>
              </a:rPr>
              <a:t>100 000 </a:t>
            </a:r>
            <a:r>
              <a:rPr lang="ru-RU" sz="1598" kern="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Roboto Regular"/>
              </a:rPr>
              <a:t>операторов ежедневно взаимодействуют с </a:t>
            </a:r>
            <a:r>
              <a:rPr lang="ru-RU" sz="1598" kern="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Roboto Regular"/>
              </a:rPr>
              <a:t>населением</a:t>
            </a:r>
          </a:p>
          <a:p>
            <a:pPr marL="228286" indent="-228286" defTabSz="1217524">
              <a:spcAft>
                <a:spcPts val="601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1598" kern="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Roboto Regular"/>
              </a:rPr>
              <a:t>почтальоны </a:t>
            </a:r>
            <a:r>
              <a:rPr lang="ru-RU" sz="1598" kern="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Roboto Regular"/>
              </a:rPr>
              <a:t>посещают каждый адрес в области не реже одного </a:t>
            </a:r>
            <a:r>
              <a:rPr lang="en-US" sz="1598" kern="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Roboto Regular"/>
              </a:rPr>
              <a:t/>
            </a:r>
            <a:br>
              <a:rPr lang="en-US" sz="1598" kern="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Roboto Regular"/>
              </a:rPr>
            </a:br>
            <a:r>
              <a:rPr lang="ru-RU" sz="1598" kern="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Roboto Regular"/>
              </a:rPr>
              <a:t>раза в </a:t>
            </a:r>
            <a:r>
              <a:rPr lang="ru-RU" sz="1598" kern="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Roboto Regular"/>
              </a:rPr>
              <a:t>неделю</a:t>
            </a:r>
          </a:p>
          <a:p>
            <a:pPr marL="228286" indent="-228286" defTabSz="1217524">
              <a:spcAft>
                <a:spcPts val="601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1598" kern="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Roboto Regular"/>
              </a:rPr>
              <a:t>Р</a:t>
            </a:r>
            <a:r>
              <a:rPr kumimoji="0" lang="ru-RU" sz="1598" b="0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Roboto Regular"/>
              </a:rPr>
              <a:t>егулярный</a:t>
            </a:r>
            <a:r>
              <a:rPr kumimoji="0" lang="ru-RU" sz="1598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Roboto Regular"/>
              </a:rPr>
              <a:t> очный контакт </a:t>
            </a:r>
          </a:p>
          <a:p>
            <a:pPr marL="228286" marR="0" lvl="0" indent="-228286" defTabSz="12175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1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ru-RU" sz="1598" kern="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Roboto Regular"/>
              </a:rPr>
              <a:t>Нам доверяют</a:t>
            </a:r>
          </a:p>
          <a:p>
            <a:pPr marL="228286" marR="0" lvl="0" indent="-228286" defTabSz="12175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1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ru-RU" sz="1598" kern="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Roboto Regular"/>
              </a:rPr>
              <a:t>Нам открывают дверь</a:t>
            </a:r>
            <a:endParaRPr kumimoji="0" lang="ru-RU" sz="1598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Roboto Regular"/>
            </a:endParaRPr>
          </a:p>
        </p:txBody>
      </p:sp>
      <p:sp>
        <p:nvSpPr>
          <p:cNvPr id="25" name="Rectangle 23"/>
          <p:cNvSpPr/>
          <p:nvPr/>
        </p:nvSpPr>
        <p:spPr>
          <a:xfrm flipH="1">
            <a:off x="8414267" y="2309336"/>
            <a:ext cx="3456879" cy="5133778"/>
          </a:xfrm>
          <a:prstGeom prst="rect">
            <a:avLst/>
          </a:prstGeom>
          <a:noFill/>
          <a:ln w="9525" cap="rnd" cmpd="sng" algn="ctr">
            <a:noFill/>
            <a:prstDash val="sysDot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defTabSz="12175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tabLst/>
              <a:defRPr/>
            </a:pPr>
            <a:r>
              <a:rPr kumimoji="0" lang="ru-RU" sz="1598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Roboto Regular"/>
              </a:rPr>
              <a:t>Ресурсы</a:t>
            </a:r>
          </a:p>
          <a:p>
            <a:pPr marL="86395" marR="0" lvl="1" defTabSz="12175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D78D1">
                  <a:lumMod val="100000"/>
                </a:srgbClr>
              </a:buClr>
              <a:buSzPct val="100000"/>
              <a:tabLst/>
              <a:defRPr/>
            </a:pPr>
            <a:r>
              <a:rPr kumimoji="0" lang="ru-RU" sz="1598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 </a:t>
            </a:r>
            <a:r>
              <a:rPr kumimoji="0" lang="ru-RU" sz="1598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Roboto Regular"/>
              </a:rPr>
              <a:t>120</a:t>
            </a:r>
            <a:r>
              <a:rPr kumimoji="0" lang="ru-RU" sz="1598" b="0" i="0" u="none" strike="noStrike" kern="0" cap="none" spc="0" normalizeH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Roboto Regular"/>
              </a:rPr>
              <a:t> 000</a:t>
            </a:r>
            <a:r>
              <a:rPr lang="ru-RU" sz="1598" kern="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Roboto Regular"/>
              </a:rPr>
              <a:t> </a:t>
            </a:r>
            <a:r>
              <a:rPr kumimoji="0" lang="ru-RU" sz="1598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Roboto Regular"/>
              </a:rPr>
              <a:t>почтальонов</a:t>
            </a:r>
          </a:p>
          <a:p>
            <a:pPr marL="86395" marR="0" lvl="1" defTabSz="12175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D78D1">
                  <a:lumMod val="100000"/>
                </a:srgbClr>
              </a:buClr>
              <a:buSzPct val="100000"/>
              <a:tabLst/>
              <a:defRPr/>
            </a:pPr>
            <a:r>
              <a:rPr kumimoji="0" lang="ru-RU" sz="1598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 </a:t>
            </a:r>
            <a:r>
              <a:rPr lang="ru-RU" sz="1598" kern="0" noProof="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Roboto Regular"/>
              </a:rPr>
              <a:t>сеть</a:t>
            </a:r>
            <a:r>
              <a:rPr kumimoji="0" lang="ru-RU" sz="1598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Roboto Regular"/>
              </a:rPr>
              <a:t> логистических </a:t>
            </a:r>
            <a:r>
              <a:rPr kumimoji="0" lang="en-US" sz="1598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Roboto Regular"/>
              </a:rPr>
              <a:t/>
            </a:r>
            <a:br>
              <a:rPr kumimoji="0" lang="en-US" sz="1598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Roboto Regular"/>
              </a:rPr>
            </a:br>
            <a:r>
              <a:rPr kumimoji="0" lang="ru-RU" sz="1598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Roboto Regular"/>
              </a:rPr>
              <a:t>маршрутов</a:t>
            </a:r>
          </a:p>
          <a:p>
            <a:pPr marL="86395" lvl="1" defTabSz="1217524">
              <a:spcAft>
                <a:spcPts val="600"/>
              </a:spcAft>
              <a:buClr>
                <a:srgbClr val="5D78D1">
                  <a:lumMod val="100000"/>
                </a:srgbClr>
              </a:buClr>
              <a:buSzPct val="100000"/>
            </a:pPr>
            <a:r>
              <a:rPr lang="ru-RU" sz="1598" kern="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 </a:t>
            </a:r>
            <a:r>
              <a:rPr lang="ru-RU" sz="1598" kern="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Roboto Regular"/>
              </a:rPr>
              <a:t>в</a:t>
            </a:r>
            <a:r>
              <a:rPr lang="ru-RU" sz="1598" kern="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Roboto Regular"/>
              </a:rPr>
              <a:t>озможность </a:t>
            </a:r>
            <a:r>
              <a:rPr lang="ru-RU" sz="1598" kern="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Roboto Regular"/>
              </a:rPr>
              <a:t>осуществлять сбор данных как на </a:t>
            </a:r>
            <a:r>
              <a:rPr lang="ru-RU" sz="1598" kern="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Roboto Regular"/>
              </a:rPr>
              <a:t>бумаге</a:t>
            </a:r>
            <a:r>
              <a:rPr lang="ru-RU" sz="1598" kern="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Roboto Regular"/>
              </a:rPr>
              <a:t>, так </a:t>
            </a:r>
            <a:r>
              <a:rPr lang="ru-RU" sz="1598" kern="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Roboto Regular"/>
              </a:rPr>
              <a:t>и через </a:t>
            </a:r>
            <a:r>
              <a:rPr lang="ru-RU" sz="1598" kern="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Roboto Regular"/>
              </a:rPr>
              <a:t>on-line </a:t>
            </a:r>
            <a:r>
              <a:rPr lang="ru-RU" sz="1598" kern="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Roboto Regular"/>
              </a:rPr>
              <a:t>платформу</a:t>
            </a:r>
          </a:p>
          <a:p>
            <a:pPr marL="86395" lvl="1" defTabSz="1217524">
              <a:spcAft>
                <a:spcPts val="600"/>
              </a:spcAft>
              <a:buClr>
                <a:srgbClr val="5D78D1">
                  <a:lumMod val="100000"/>
                </a:srgbClr>
              </a:buClr>
              <a:buSzPct val="100000"/>
            </a:pPr>
            <a:r>
              <a:rPr lang="ru-RU" sz="1598" kern="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 </a:t>
            </a:r>
            <a:r>
              <a:rPr lang="ru-RU" sz="1598" kern="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передача данных осуществляется по защищённым каналам</a:t>
            </a:r>
          </a:p>
          <a:p>
            <a:pPr marL="86395" lvl="1" defTabSz="1217524">
              <a:spcAft>
                <a:spcPts val="600"/>
              </a:spcAft>
              <a:buClr>
                <a:srgbClr val="5D78D1">
                  <a:lumMod val="100000"/>
                </a:srgbClr>
              </a:buClr>
              <a:buSzPct val="100000"/>
            </a:pPr>
            <a:r>
              <a:rPr lang="ru-RU" sz="1598" kern="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 доступность </a:t>
            </a:r>
            <a:r>
              <a:rPr lang="ru-RU" sz="1598" kern="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проведения опросов на отдалённых </a:t>
            </a:r>
            <a:r>
              <a:rPr lang="ru-RU" sz="1598" kern="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территориях</a:t>
            </a:r>
          </a:p>
          <a:p>
            <a:pPr marL="86395" lvl="1" defTabSz="1217524">
              <a:buClr>
                <a:srgbClr val="5D78D1">
                  <a:lumMod val="100000"/>
                </a:srgbClr>
              </a:buClr>
              <a:buSzPct val="100000"/>
            </a:pPr>
            <a:r>
              <a:rPr lang="ru-RU" sz="1598" kern="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 уникальная </a:t>
            </a:r>
            <a:r>
              <a:rPr lang="ru-RU" sz="1598" kern="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адресная </a:t>
            </a:r>
            <a:endParaRPr lang="ru-RU" sz="1598" kern="0" dirty="0" smtClean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86395" lvl="1" defTabSz="1217524">
              <a:buClr>
                <a:srgbClr val="5D78D1">
                  <a:lumMod val="100000"/>
                </a:srgbClr>
              </a:buClr>
              <a:buSzPct val="100000"/>
            </a:pPr>
            <a:r>
              <a:rPr lang="ru-RU" sz="1598" kern="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база </a:t>
            </a:r>
            <a:r>
              <a:rPr lang="ru-RU" sz="1598" kern="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Почты России</a:t>
            </a:r>
          </a:p>
          <a:p>
            <a:pPr marL="86395" lvl="1" defTabSz="1217524">
              <a:buClr>
                <a:srgbClr val="5D78D1">
                  <a:lumMod val="100000"/>
                </a:srgbClr>
              </a:buClr>
              <a:buSzPct val="100000"/>
            </a:pPr>
            <a:r>
              <a:rPr lang="ru-RU" sz="1598" kern="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endParaRPr lang="ru-RU" sz="1598" kern="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86395" lvl="1" defTabSz="1217524">
              <a:buClr>
                <a:srgbClr val="5D78D1">
                  <a:lumMod val="100000"/>
                </a:srgbClr>
              </a:buClr>
              <a:buSzPct val="100000"/>
            </a:pPr>
            <a:endParaRPr lang="ru-RU" sz="1598" kern="0" dirty="0" smtClean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Roboto Regular"/>
            </a:endParaRPr>
          </a:p>
          <a:p>
            <a:pPr marL="86395" lvl="1" defTabSz="1217524">
              <a:buClr>
                <a:srgbClr val="5D78D1">
                  <a:lumMod val="100000"/>
                </a:srgbClr>
              </a:buClr>
              <a:buSzPct val="100000"/>
            </a:pPr>
            <a:endParaRPr lang="ru-RU" sz="1598" kern="0" dirty="0" smtClean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Roboto Regular"/>
            </a:endParaRPr>
          </a:p>
          <a:p>
            <a:pPr marL="86395" lvl="1" defTabSz="1217524">
              <a:buClr>
                <a:srgbClr val="5D78D1">
                  <a:lumMod val="100000"/>
                </a:srgbClr>
              </a:buClr>
              <a:buSzPct val="100000"/>
            </a:pPr>
            <a:endParaRPr lang="ru-RU" sz="1598" kern="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Roboto Regular"/>
            </a:endParaRPr>
          </a:p>
          <a:p>
            <a:pPr marL="259188" marR="0" lvl="1" indent="-172793" defTabSz="12175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D78D1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endParaRPr kumimoji="0" lang="ru-RU" sz="1598" b="0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Roboto Regular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598341" y="35138"/>
            <a:ext cx="887265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0A549D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Roboto Bold"/>
              </a:rPr>
              <a:t>Уникальные возможности Почты России</a:t>
            </a:r>
            <a:endParaRPr kumimoji="0" lang="ru-RU" sz="2400" b="1" i="0" u="none" strike="noStrike" kern="0" cap="none" spc="0" normalizeH="0" baseline="0" noProof="0" dirty="0" smtClean="0">
              <a:ln>
                <a:noFill/>
              </a:ln>
              <a:solidFill>
                <a:srgbClr val="0A549D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4" name="Straight Connector 25"/>
          <p:cNvCxnSpPr/>
          <p:nvPr/>
        </p:nvCxnSpPr>
        <p:spPr>
          <a:xfrm flipH="1">
            <a:off x="3929722" y="1593752"/>
            <a:ext cx="28962" cy="4561721"/>
          </a:xfrm>
          <a:prstGeom prst="line">
            <a:avLst/>
          </a:prstGeom>
          <a:noFill/>
          <a:ln w="19050" cap="rnd" cmpd="sng" algn="ctr">
            <a:solidFill>
              <a:srgbClr val="5D78D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75058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sz="2663" b="1" kern="0" dirty="0" smtClean="0">
                <a:solidFill>
                  <a:srgbClr val="0A549D"/>
                </a:solidFill>
                <a:ea typeface="+mn-ea"/>
                <a:sym typeface="Roboto Regular"/>
              </a:rPr>
              <a:t>Варианты проведения опросов</a:t>
            </a:r>
            <a:endParaRPr lang="ru-RU" b="1" dirty="0">
              <a:solidFill>
                <a:srgbClr val="0A549D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387512" y="5729556"/>
            <a:ext cx="7552322" cy="5432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1217524"/>
            <a:r>
              <a:rPr lang="ru-RU" sz="1465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Roboto Regular"/>
              </a:rPr>
              <a:t>Анкетирование проходит в строгом соответствии </a:t>
            </a:r>
            <a:r>
              <a:rPr lang="ru-RU" sz="1465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Roboto Regular"/>
              </a:rPr>
              <a:t>с Федеральным законом от 27.07.2006 № 152-ФЗ «О персональных данных». 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893910" y="2674160"/>
            <a:ext cx="2729340" cy="83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7524"/>
            <a:r>
              <a:rPr lang="ru-RU" sz="2397" b="1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  <a:sym typeface="Roboto Regular"/>
              </a:rPr>
              <a:t>Опросы </a:t>
            </a:r>
          </a:p>
          <a:p>
            <a:pPr algn="ctr" defTabSz="1217524"/>
            <a:r>
              <a:rPr lang="ru-RU" sz="2397" b="1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  <a:sym typeface="Roboto Regular"/>
              </a:rPr>
              <a:t>(анкетирование)</a:t>
            </a:r>
          </a:p>
        </p:txBody>
      </p:sp>
      <p:grpSp>
        <p:nvGrpSpPr>
          <p:cNvPr id="31" name="Группа 30"/>
          <p:cNvGrpSpPr/>
          <p:nvPr/>
        </p:nvGrpSpPr>
        <p:grpSpPr>
          <a:xfrm>
            <a:off x="9007158" y="4158200"/>
            <a:ext cx="3285750" cy="1052995"/>
            <a:chOff x="9015860" y="3952693"/>
            <a:chExt cx="3285750" cy="1052995"/>
          </a:xfrm>
        </p:grpSpPr>
        <p:pic>
          <p:nvPicPr>
            <p:cNvPr id="3" name="Рисунок 2"/>
            <p:cNvPicPr>
              <a:picLocks noChangeAspect="1"/>
            </p:cNvPicPr>
            <p:nvPr/>
          </p:nvPicPr>
          <p:blipFill rotWithShape="1"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artisticPhotocopy trans="56000" detail="4"/>
                      </a14:imgEffect>
                    </a14:imgLayer>
                  </a14:imgProps>
                </a:ext>
              </a:extLst>
            </a:blip>
            <a:srcRect l="17663" t="9936" r="-12664" b="-5899"/>
            <a:stretch/>
          </p:blipFill>
          <p:spPr>
            <a:xfrm>
              <a:off x="9015860" y="3952693"/>
              <a:ext cx="724451" cy="1052995"/>
            </a:xfrm>
            <a:prstGeom prst="rect">
              <a:avLst/>
            </a:prstGeom>
            <a:noFill/>
            <a:ln>
              <a:noFill/>
            </a:ln>
            <a:effectLst>
              <a:softEdge rad="63500"/>
            </a:effectLst>
          </p:spPr>
        </p:pic>
        <p:sp>
          <p:nvSpPr>
            <p:cNvPr id="7" name="TextBox 6"/>
            <p:cNvSpPr txBox="1"/>
            <p:nvPr/>
          </p:nvSpPr>
          <p:spPr>
            <a:xfrm>
              <a:off x="9422041" y="4080891"/>
              <a:ext cx="2879569" cy="5432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7524"/>
              <a:r>
                <a:rPr lang="ru-RU" sz="1465" b="1" dirty="0">
                  <a:solidFill>
                    <a:srgbClr val="003399"/>
                  </a:solidFill>
                  <a:latin typeface="Arial" panose="020B0604020202020204" pitchFamily="34" charset="0"/>
                  <a:cs typeface="Arial" panose="020B0604020202020204" pitchFamily="34" charset="0"/>
                  <a:sym typeface="Roboto Regular"/>
                </a:rPr>
                <a:t>В электронном виде / на мобильном </a:t>
              </a:r>
              <a:r>
                <a:rPr lang="ru-RU" sz="1465" b="1" dirty="0" smtClean="0">
                  <a:solidFill>
                    <a:srgbClr val="003399"/>
                  </a:solidFill>
                  <a:latin typeface="Arial" panose="020B0604020202020204" pitchFamily="34" charset="0"/>
                  <a:cs typeface="Arial" panose="020B0604020202020204" pitchFamily="34" charset="0"/>
                  <a:sym typeface="Roboto Regular"/>
                </a:rPr>
                <a:t>устройстве</a:t>
              </a:r>
              <a:endParaRPr lang="ru-RU" sz="1465" b="1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  <a:sym typeface="Roboto Regular"/>
              </a:endParaRPr>
            </a:p>
          </p:txBody>
        </p:sp>
      </p:grpSp>
      <p:grpSp>
        <p:nvGrpSpPr>
          <p:cNvPr id="30" name="Группа 29"/>
          <p:cNvGrpSpPr/>
          <p:nvPr/>
        </p:nvGrpSpPr>
        <p:grpSpPr>
          <a:xfrm>
            <a:off x="4689029" y="4158200"/>
            <a:ext cx="2402224" cy="726300"/>
            <a:chOff x="5090073" y="4102077"/>
            <a:chExt cx="2402224" cy="726300"/>
          </a:xfrm>
        </p:grpSpPr>
        <p:sp>
          <p:nvSpPr>
            <p:cNvPr id="6" name="TextBox 5"/>
            <p:cNvSpPr txBox="1"/>
            <p:nvPr/>
          </p:nvSpPr>
          <p:spPr>
            <a:xfrm>
              <a:off x="5550296" y="4218463"/>
              <a:ext cx="1942001" cy="5432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7524"/>
              <a:r>
                <a:rPr lang="ru-RU" sz="1465" b="1" dirty="0">
                  <a:solidFill>
                    <a:srgbClr val="003399"/>
                  </a:solidFill>
                  <a:latin typeface="Arial" panose="020B0604020202020204" pitchFamily="34" charset="0"/>
                  <a:cs typeface="Arial" panose="020B0604020202020204" pitchFamily="34" charset="0"/>
                  <a:sym typeface="Roboto Regular"/>
                </a:rPr>
                <a:t>На бумажном носителе</a:t>
              </a:r>
            </a:p>
          </p:txBody>
        </p:sp>
        <p:pic>
          <p:nvPicPr>
            <p:cNvPr id="8" name="Рисунок 7"/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artisticPhotocopy/>
                      </a14:imgEffect>
                    </a14:imgLayer>
                  </a14:imgProps>
                </a:ext>
              </a:extLst>
            </a:blip>
            <a:srcRect l="9210" r="-7471"/>
            <a:stretch/>
          </p:blipFill>
          <p:spPr>
            <a:xfrm>
              <a:off x="5090073" y="4102077"/>
              <a:ext cx="839105" cy="726300"/>
            </a:xfrm>
            <a:prstGeom prst="rect">
              <a:avLst/>
            </a:prstGeom>
            <a:effectLst/>
          </p:spPr>
        </p:pic>
      </p:grpSp>
      <p:pic>
        <p:nvPicPr>
          <p:cNvPr id="12" name="Рисунок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74554" y="1831742"/>
            <a:ext cx="742460" cy="989708"/>
          </a:xfrm>
          <a:prstGeom prst="rect">
            <a:avLst/>
          </a:prstGeom>
        </p:spPr>
      </p:pic>
      <p:cxnSp>
        <p:nvCxnSpPr>
          <p:cNvPr id="13" name="Прямая со стрелкой 12"/>
          <p:cNvCxnSpPr/>
          <p:nvPr/>
        </p:nvCxnSpPr>
        <p:spPr>
          <a:xfrm flipV="1">
            <a:off x="8995754" y="2446051"/>
            <a:ext cx="637719" cy="328021"/>
          </a:xfrm>
          <a:prstGeom prst="straightConnector1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cxnSp>
        <p:nvCxnSpPr>
          <p:cNvPr id="14" name="Прямая со стрелкой 13"/>
          <p:cNvCxnSpPr/>
          <p:nvPr/>
        </p:nvCxnSpPr>
        <p:spPr>
          <a:xfrm flipH="1" flipV="1">
            <a:off x="6716130" y="2435398"/>
            <a:ext cx="779684" cy="328021"/>
          </a:xfrm>
          <a:prstGeom prst="straightConnector1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cxnSp>
        <p:nvCxnSpPr>
          <p:cNvPr id="15" name="Прямая со стрелкой 14"/>
          <p:cNvCxnSpPr/>
          <p:nvPr/>
        </p:nvCxnSpPr>
        <p:spPr>
          <a:xfrm flipH="1">
            <a:off x="6257582" y="3538373"/>
            <a:ext cx="702118" cy="421758"/>
          </a:xfrm>
          <a:prstGeom prst="straightConnector1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cxnSp>
        <p:nvCxnSpPr>
          <p:cNvPr id="16" name="Прямая со стрелкой 15"/>
          <p:cNvCxnSpPr/>
          <p:nvPr/>
        </p:nvCxnSpPr>
        <p:spPr>
          <a:xfrm>
            <a:off x="9514990" y="3473224"/>
            <a:ext cx="664776" cy="368277"/>
          </a:xfrm>
          <a:prstGeom prst="straightConnector1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sp>
        <p:nvSpPr>
          <p:cNvPr id="18" name="Прямоугольник 17"/>
          <p:cNvSpPr/>
          <p:nvPr/>
        </p:nvSpPr>
        <p:spPr>
          <a:xfrm>
            <a:off x="515965" y="1035288"/>
            <a:ext cx="3766883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0A549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rPr>
              <a:t>Почта России осуществляет опросы как на </a:t>
            </a:r>
            <a:r>
              <a:rPr kumimoji="0" lang="ru-RU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0A549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rPr>
              <a:t>бумажном носителе</a:t>
            </a:r>
            <a:r>
              <a:rPr kumimoji="0" lang="ru-RU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0A549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rPr>
              <a:t>, так и в </a:t>
            </a:r>
            <a:r>
              <a:rPr kumimoji="0" lang="ru-RU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0A549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rPr>
              <a:t>электронном виде</a:t>
            </a:r>
            <a:r>
              <a:rPr kumimoji="0" lang="ru-RU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0A549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rPr>
              <a:t>.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0A549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rPr>
              <a:t>Анкетирование может </a:t>
            </a:r>
            <a:r>
              <a:rPr kumimoji="0" lang="ru-RU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0A549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rPr>
              <a:t>проводиться </a:t>
            </a:r>
            <a:r>
              <a:rPr kumimoji="0" lang="ru-RU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0A549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rPr>
              <a:t>почтальонами</a:t>
            </a:r>
            <a:r>
              <a:rPr kumimoji="0" lang="ru-RU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0A549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rPr>
              <a:t> при подомовом обходе или </a:t>
            </a:r>
            <a:r>
              <a:rPr kumimoji="0" lang="ru-RU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0A549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rPr>
              <a:t>операторами</a:t>
            </a:r>
            <a:r>
              <a:rPr kumimoji="0" lang="ru-RU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0A549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rPr>
              <a:t> в ОПС</a:t>
            </a:r>
            <a:endParaRPr kumimoji="0" lang="ru-RU" sz="1800" b="0" i="0" u="none" strike="noStrike" kern="0" cap="none" spc="0" normalizeH="0" baseline="0" noProof="0" dirty="0" smtClean="0">
              <a:ln>
                <a:noFill/>
              </a:ln>
              <a:solidFill>
                <a:srgbClr val="0A549D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9" name="Straight Connector 25"/>
          <p:cNvCxnSpPr/>
          <p:nvPr/>
        </p:nvCxnSpPr>
        <p:spPr>
          <a:xfrm flipH="1">
            <a:off x="4309658" y="1305659"/>
            <a:ext cx="28962" cy="4561721"/>
          </a:xfrm>
          <a:prstGeom prst="line">
            <a:avLst/>
          </a:prstGeom>
          <a:noFill/>
          <a:ln w="19050" cap="rnd" cmpd="sng" algn="ctr">
            <a:solidFill>
              <a:srgbClr val="5D78D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grpSp>
        <p:nvGrpSpPr>
          <p:cNvPr id="32" name="Группа 31"/>
          <p:cNvGrpSpPr/>
          <p:nvPr/>
        </p:nvGrpSpPr>
        <p:grpSpPr>
          <a:xfrm>
            <a:off x="9173530" y="1139614"/>
            <a:ext cx="2652433" cy="1217847"/>
            <a:chOff x="9535610" y="981139"/>
            <a:chExt cx="2652433" cy="1217847"/>
          </a:xfrm>
        </p:grpSpPr>
        <p:sp>
          <p:nvSpPr>
            <p:cNvPr id="11" name="TextBox 10"/>
            <p:cNvSpPr txBox="1"/>
            <p:nvPr/>
          </p:nvSpPr>
          <p:spPr>
            <a:xfrm>
              <a:off x="9535610" y="1655760"/>
              <a:ext cx="2652433" cy="5432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7524"/>
              <a:r>
                <a:rPr lang="ru-RU" sz="1465" b="1" dirty="0">
                  <a:solidFill>
                    <a:srgbClr val="003399"/>
                  </a:solidFill>
                  <a:latin typeface="Arial" panose="020B0604020202020204" pitchFamily="34" charset="0"/>
                  <a:cs typeface="Arial" panose="020B0604020202020204" pitchFamily="34" charset="0"/>
                  <a:sym typeface="Roboto Regular"/>
                </a:rPr>
                <a:t>Операторами ОПС при опросе посетителей ОПС</a:t>
              </a:r>
            </a:p>
          </p:txBody>
        </p:sp>
        <p:pic>
          <p:nvPicPr>
            <p:cNvPr id="28" name="Рисунок 27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0327036" y="981139"/>
              <a:ext cx="645995" cy="711007"/>
            </a:xfrm>
            <a:prstGeom prst="rect">
              <a:avLst/>
            </a:prstGeom>
          </p:spPr>
        </p:pic>
      </p:grpSp>
      <p:grpSp>
        <p:nvGrpSpPr>
          <p:cNvPr id="33" name="Группа 32"/>
          <p:cNvGrpSpPr/>
          <p:nvPr/>
        </p:nvGrpSpPr>
        <p:grpSpPr>
          <a:xfrm>
            <a:off x="4665605" y="969034"/>
            <a:ext cx="2652433" cy="1732199"/>
            <a:chOff x="4338620" y="898555"/>
            <a:chExt cx="2652433" cy="1732199"/>
          </a:xfrm>
        </p:grpSpPr>
        <p:sp>
          <p:nvSpPr>
            <p:cNvPr id="10" name="TextBox 9"/>
            <p:cNvSpPr txBox="1"/>
            <p:nvPr/>
          </p:nvSpPr>
          <p:spPr>
            <a:xfrm>
              <a:off x="4338620" y="1636636"/>
              <a:ext cx="2652433" cy="9941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7524"/>
              <a:r>
                <a:rPr lang="ru-RU" sz="1465" b="1" dirty="0">
                  <a:solidFill>
                    <a:srgbClr val="003399"/>
                  </a:solidFill>
                  <a:latin typeface="Arial" panose="020B0604020202020204" pitchFamily="34" charset="0"/>
                  <a:cs typeface="Arial" panose="020B0604020202020204" pitchFamily="34" charset="0"/>
                  <a:sym typeface="Roboto Regular"/>
                </a:rPr>
                <a:t>Почтальонами при обходе доставочных участков по установленному маршруту</a:t>
              </a:r>
            </a:p>
          </p:txBody>
        </p:sp>
        <p:pic>
          <p:nvPicPr>
            <p:cNvPr id="29" name="Рисунок 28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437494" y="898555"/>
              <a:ext cx="565452" cy="81420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96894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2400" b="1" dirty="0" smtClean="0">
                <a:solidFill>
                  <a:srgbClr val="00529F"/>
                </a:solidFill>
              </a:rPr>
              <a:t>Этапы проведения опроса</a:t>
            </a:r>
            <a:endParaRPr lang="ru-RU" sz="2400" b="1" dirty="0">
              <a:solidFill>
                <a:srgbClr val="00529F"/>
              </a:solidFill>
            </a:endParaRPr>
          </a:p>
        </p:txBody>
      </p:sp>
      <p:sp>
        <p:nvSpPr>
          <p:cNvPr id="62" name="Скругленный прямоугольник 61"/>
          <p:cNvSpPr/>
          <p:nvPr/>
        </p:nvSpPr>
        <p:spPr>
          <a:xfrm>
            <a:off x="8185695" y="1237946"/>
            <a:ext cx="3365413" cy="1528150"/>
          </a:xfrm>
          <a:prstGeom prst="roundRect">
            <a:avLst/>
          </a:prstGeom>
          <a:noFill/>
          <a:ln w="9525" cap="rnd" cmpd="sng" algn="ctr">
            <a:solidFill>
              <a:srgbClr val="00529F"/>
            </a:solidFill>
            <a:prstDash val="dash"/>
            <a:round/>
          </a:ln>
          <a:effectLst/>
        </p:spPr>
        <p:txBody>
          <a:bodyPr anchor="ctr"/>
          <a:lstStyle/>
          <a:p>
            <a:pPr marL="0" marR="0" lvl="0" indent="0" algn="ctr" defTabSz="91440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751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0" cap="none" spc="0" normalizeH="0" baseline="0" noProof="0" dirty="0" err="1">
              <a:ln>
                <a:noFill/>
              </a:ln>
              <a:solidFill>
                <a:srgbClr val="4F81BD">
                  <a:lumMod val="60000"/>
                  <a:lumOff val="40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Скругленный прямоугольник 62"/>
          <p:cNvSpPr/>
          <p:nvPr/>
        </p:nvSpPr>
        <p:spPr>
          <a:xfrm>
            <a:off x="584552" y="1215482"/>
            <a:ext cx="3003271" cy="1526470"/>
          </a:xfrm>
          <a:prstGeom prst="roundRect">
            <a:avLst/>
          </a:prstGeom>
          <a:noFill/>
          <a:ln w="9525" cap="rnd" cmpd="sng" algn="ctr">
            <a:solidFill>
              <a:srgbClr val="00529F"/>
            </a:solidFill>
            <a:prstDash val="dash"/>
            <a:round/>
          </a:ln>
          <a:effectLst/>
        </p:spPr>
        <p:txBody>
          <a:bodyPr anchor="ctr"/>
          <a:lstStyle/>
          <a:p>
            <a:pPr marL="0" marR="0" lvl="0" indent="0" algn="ctr" defTabSz="91440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751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0" cap="none" spc="0" normalizeH="0" baseline="0" noProof="0" dirty="0" err="1">
              <a:ln>
                <a:noFill/>
              </a:ln>
              <a:solidFill>
                <a:srgbClr val="4F81BD">
                  <a:lumMod val="60000"/>
                  <a:lumOff val="40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Rectangle 23"/>
          <p:cNvSpPr>
            <a:spLocks noChangeArrowheads="1"/>
          </p:cNvSpPr>
          <p:nvPr/>
        </p:nvSpPr>
        <p:spPr bwMode="auto">
          <a:xfrm>
            <a:off x="1185174" y="1337084"/>
            <a:ext cx="164285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7033" tIns="0" rIns="0" bIns="0">
            <a:spAutoFit/>
          </a:bodyPr>
          <a:lstStyle>
            <a:lvl1pPr marL="342900" indent="-342900" eaLnBrk="0" hangingPunct="0"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1pPr>
            <a:lvl2pPr marL="742950" indent="-285750" eaLnBrk="0" hangingPunct="0"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2pPr>
            <a:lvl3pPr marL="1143000" indent="-228600" eaLnBrk="0" hangingPunct="0"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3pPr>
            <a:lvl4pPr eaLnBrk="0" hangingPunct="0"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4pPr>
            <a:lvl5pPr marL="2057400" indent="-228600" eaLnBrk="0" hangingPunct="0"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9pPr>
          </a:lstStyle>
          <a:p>
            <a:pPr marL="0" marR="0" lvl="3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2673"/>
                </a:solidFill>
                <a:effectLst/>
                <a:uLnTx/>
                <a:uFillTx/>
                <a:ea typeface="Roboto"/>
                <a:cs typeface="Arial" panose="020B0604020202020204" pitchFamily="34" charset="0"/>
                <a:sym typeface="Roboto Regular"/>
              </a:rPr>
              <a:t>Шаг 1</a:t>
            </a:r>
            <a:endParaRPr kumimoji="0" lang="en-US" altLang="ru-RU" sz="1400" b="1" i="0" u="none" strike="noStrike" kern="0" cap="none" spc="0" normalizeH="0" baseline="0" noProof="0" dirty="0">
              <a:ln>
                <a:noFill/>
              </a:ln>
              <a:solidFill>
                <a:srgbClr val="002673"/>
              </a:solidFill>
              <a:effectLst/>
              <a:uLnTx/>
              <a:uFillTx/>
              <a:ea typeface="Roboto"/>
              <a:cs typeface="Arial" panose="020B0604020202020204" pitchFamily="34" charset="0"/>
              <a:sym typeface="Roboto Regular"/>
            </a:endParaRPr>
          </a:p>
        </p:txBody>
      </p:sp>
      <p:sp>
        <p:nvSpPr>
          <p:cNvPr id="65" name="Rectangle 23"/>
          <p:cNvSpPr>
            <a:spLocks noChangeArrowheads="1"/>
          </p:cNvSpPr>
          <p:nvPr/>
        </p:nvSpPr>
        <p:spPr bwMode="auto">
          <a:xfrm>
            <a:off x="584553" y="1541783"/>
            <a:ext cx="2991050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7033" tIns="0" rIns="0" bIns="0">
            <a:spAutoFit/>
          </a:bodyPr>
          <a:lstStyle>
            <a:lvl1pPr marL="342900" indent="-342900" eaLnBrk="0" hangingPunct="0"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1pPr>
            <a:lvl2pPr marL="742950" indent="-285750" eaLnBrk="0" hangingPunct="0"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2pPr>
            <a:lvl3pPr marL="1143000" indent="-228600" eaLnBrk="0" hangingPunct="0"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3pPr>
            <a:lvl4pPr eaLnBrk="0" hangingPunct="0"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4pPr>
            <a:lvl5pPr marL="2057400" indent="-228600" eaLnBrk="0" hangingPunct="0"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9pPr>
          </a:lstStyle>
          <a:p>
            <a:pPr marL="0" marR="0" lvl="3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ea typeface="+mn-ea"/>
                <a:cs typeface="Arial" panose="020B0604020202020204" pitchFamily="34" charset="0"/>
                <a:sym typeface="Roboto Regular"/>
              </a:rPr>
              <a:t>Подписание договора на оказание услуги </a:t>
            </a:r>
            <a:r>
              <a:rPr lang="ru-RU" altLang="ru-RU" sz="1400" kern="0" dirty="0" smtClean="0">
                <a:solidFill>
                  <a:srgbClr val="003399"/>
                </a:solidFill>
                <a:ea typeface="+mn-ea"/>
                <a:cs typeface="Arial" panose="020B0604020202020204" pitchFamily="34" charset="0"/>
              </a:rPr>
              <a:t>«</a:t>
            </a:r>
            <a:r>
              <a:rPr lang="ru-RU" altLang="ru-RU" sz="1400" kern="0" dirty="0" smtClean="0">
                <a:solidFill>
                  <a:srgbClr val="003399"/>
                </a:solidFill>
                <a:ea typeface="+mn-ea"/>
                <a:cs typeface="Arial" panose="020B0604020202020204" pitchFamily="34" charset="0"/>
              </a:rPr>
              <a:t>проведение опроса», </a:t>
            </a:r>
            <a:r>
              <a:rPr lang="ru-RU" altLang="ru-RU" sz="1400" kern="0" dirty="0" smtClean="0">
                <a:solidFill>
                  <a:srgbClr val="003399"/>
                </a:solidFill>
                <a:ea typeface="+mn-ea"/>
                <a:cs typeface="Arial" panose="020B0604020202020204" pitchFamily="34" charset="0"/>
              </a:rPr>
              <a:t>получение</a:t>
            </a:r>
            <a:r>
              <a:rPr kumimoji="0" lang="ru-RU" alt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ea typeface="+mn-ea"/>
                <a:cs typeface="Arial" panose="020B0604020202020204" pitchFamily="34" charset="0"/>
                <a:sym typeface="Roboto Regular"/>
              </a:rPr>
              <a:t> </a:t>
            </a:r>
            <a:r>
              <a:rPr kumimoji="0" lang="ru-RU" alt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ea typeface="+mn-ea"/>
                <a:cs typeface="Arial" panose="020B0604020202020204" pitchFamily="34" charset="0"/>
                <a:sym typeface="Roboto Regular"/>
              </a:rPr>
              <a:t>от </a:t>
            </a:r>
            <a:r>
              <a:rPr kumimoji="0" lang="ru-RU" alt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ea typeface="+mn-ea"/>
                <a:cs typeface="Arial" panose="020B0604020202020204" pitchFamily="34" charset="0"/>
                <a:sym typeface="Roboto Regular"/>
              </a:rPr>
              <a:t>Заказчика </a:t>
            </a:r>
            <a:r>
              <a:rPr kumimoji="0" lang="ru-RU" alt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ea typeface="+mn-ea"/>
                <a:cs typeface="Arial" panose="020B0604020202020204" pitchFamily="34" charset="0"/>
                <a:sym typeface="Roboto Regular"/>
              </a:rPr>
              <a:t>анкеты</a:t>
            </a:r>
          </a:p>
          <a:p>
            <a:pPr marL="0" marR="0" lvl="3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ea typeface="+mn-ea"/>
                <a:cs typeface="Arial" panose="020B0604020202020204" pitchFamily="34" charset="0"/>
                <a:sym typeface="Roboto Regular"/>
              </a:rPr>
              <a:t> и </a:t>
            </a:r>
            <a:r>
              <a:rPr kumimoji="0" lang="ru-RU" alt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ea typeface="+mn-ea"/>
                <a:cs typeface="Arial" panose="020B0604020202020204" pitchFamily="34" charset="0"/>
                <a:sym typeface="Roboto Regular"/>
              </a:rPr>
              <a:t>скриптов</a:t>
            </a:r>
            <a:r>
              <a:rPr kumimoji="0" lang="ru-RU" alt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ea typeface="+mn-ea"/>
                <a:cs typeface="Arial" panose="020B0604020202020204" pitchFamily="34" charset="0"/>
                <a:sym typeface="Roboto Regular"/>
              </a:rPr>
              <a:t> для почтальонов </a:t>
            </a:r>
            <a:r>
              <a:rPr kumimoji="0" lang="ru-RU" alt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ea typeface="+mn-ea"/>
                <a:cs typeface="Arial" panose="020B0604020202020204" pitchFamily="34" charset="0"/>
                <a:sym typeface="Roboto Regular"/>
              </a:rPr>
              <a:t> / операторов ОПС</a:t>
            </a:r>
            <a:endParaRPr kumimoji="0" lang="ru-RU" altLang="ru-RU" sz="1400" b="0" i="0" u="none" strike="noStrike" kern="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ea typeface="+mn-ea"/>
              <a:cs typeface="Arial" panose="020B0604020202020204" pitchFamily="34" charset="0"/>
              <a:sym typeface="Roboto Regular"/>
            </a:endParaRPr>
          </a:p>
        </p:txBody>
      </p:sp>
      <p:grpSp>
        <p:nvGrpSpPr>
          <p:cNvPr id="3" name="Группа 2"/>
          <p:cNvGrpSpPr/>
          <p:nvPr/>
        </p:nvGrpSpPr>
        <p:grpSpPr>
          <a:xfrm>
            <a:off x="4048860" y="1235052"/>
            <a:ext cx="3663578" cy="1602718"/>
            <a:chOff x="3892275" y="1237032"/>
            <a:chExt cx="3663578" cy="1602718"/>
          </a:xfrm>
        </p:grpSpPr>
        <p:sp>
          <p:nvSpPr>
            <p:cNvPr id="61" name="Скругленный прямоугольник 60"/>
            <p:cNvSpPr/>
            <p:nvPr/>
          </p:nvSpPr>
          <p:spPr>
            <a:xfrm>
              <a:off x="3892275" y="1237032"/>
              <a:ext cx="3663578" cy="1526472"/>
            </a:xfrm>
            <a:prstGeom prst="roundRect">
              <a:avLst/>
            </a:prstGeom>
            <a:noFill/>
            <a:ln w="9525" cap="rnd" cmpd="sng" algn="ctr">
              <a:solidFill>
                <a:srgbClr val="00529F"/>
              </a:solidFill>
              <a:prstDash val="dash"/>
              <a:round/>
            </a:ln>
            <a:effectLst/>
          </p:spPr>
          <p:txBody>
            <a:bodyPr anchor="ctr"/>
            <a:lstStyle/>
            <a:p>
              <a:pPr marL="0" marR="0" lvl="0" indent="0" algn="ctr" defTabSz="91440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751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 dirty="0" err="1">
                <a:ln>
                  <a:noFill/>
                </a:ln>
                <a:solidFill>
                  <a:srgbClr val="4F81BD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Rectangle 23"/>
            <p:cNvSpPr>
              <a:spLocks noChangeArrowheads="1"/>
            </p:cNvSpPr>
            <p:nvPr/>
          </p:nvSpPr>
          <p:spPr bwMode="auto">
            <a:xfrm>
              <a:off x="4863257" y="1305543"/>
              <a:ext cx="1642852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27033" tIns="0" rIns="0" bIns="0">
              <a:spAutoFit/>
            </a:bodyPr>
            <a:lstStyle>
              <a:lvl1pPr marL="342900" indent="-342900" eaLnBrk="0" hangingPunct="0">
                <a:defRPr>
                  <a:solidFill>
                    <a:srgbClr val="000000"/>
                  </a:solidFill>
                  <a:latin typeface="Arial" panose="020B0604020202020204" pitchFamily="34" charset="0"/>
                  <a:ea typeface="Roboto Regular"/>
                  <a:cs typeface="Roboto Regular"/>
                  <a:sym typeface="Roboto Regular"/>
                </a:defRPr>
              </a:lvl1pPr>
              <a:lvl2pPr marL="742950" indent="-285750" eaLnBrk="0" hangingPunct="0">
                <a:defRPr>
                  <a:solidFill>
                    <a:srgbClr val="000000"/>
                  </a:solidFill>
                  <a:latin typeface="Arial" panose="020B0604020202020204" pitchFamily="34" charset="0"/>
                  <a:ea typeface="Roboto Regular"/>
                  <a:cs typeface="Roboto Regular"/>
                  <a:sym typeface="Roboto Regular"/>
                </a:defRPr>
              </a:lvl2pPr>
              <a:lvl3pPr marL="1143000" indent="-228600" eaLnBrk="0" hangingPunct="0">
                <a:defRPr>
                  <a:solidFill>
                    <a:srgbClr val="000000"/>
                  </a:solidFill>
                  <a:latin typeface="Arial" panose="020B0604020202020204" pitchFamily="34" charset="0"/>
                  <a:ea typeface="Roboto Regular"/>
                  <a:cs typeface="Roboto Regular"/>
                  <a:sym typeface="Roboto Regular"/>
                </a:defRPr>
              </a:lvl3pPr>
              <a:lvl4pPr eaLnBrk="0" hangingPunct="0">
                <a:defRPr>
                  <a:solidFill>
                    <a:srgbClr val="000000"/>
                  </a:solidFill>
                  <a:latin typeface="Arial" panose="020B0604020202020204" pitchFamily="34" charset="0"/>
                  <a:ea typeface="Roboto Regular"/>
                  <a:cs typeface="Roboto Regular"/>
                  <a:sym typeface="Roboto Regular"/>
                </a:defRPr>
              </a:lvl4pPr>
              <a:lvl5pPr marL="2057400" indent="-228600" eaLnBrk="0" hangingPunct="0">
                <a:defRPr>
                  <a:solidFill>
                    <a:srgbClr val="000000"/>
                  </a:solidFill>
                  <a:latin typeface="Arial" panose="020B0604020202020204" pitchFamily="34" charset="0"/>
                  <a:ea typeface="Roboto Regular"/>
                  <a:cs typeface="Roboto Regular"/>
                  <a:sym typeface="Roboto Regular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Roboto Regular"/>
                  <a:cs typeface="Roboto Regular"/>
                  <a:sym typeface="Roboto Regular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Roboto Regular"/>
                  <a:cs typeface="Roboto Regular"/>
                  <a:sym typeface="Roboto Regular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Roboto Regular"/>
                  <a:cs typeface="Roboto Regular"/>
                  <a:sym typeface="Roboto Regular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Roboto Regular"/>
                  <a:cs typeface="Roboto Regular"/>
                  <a:sym typeface="Roboto Regular"/>
                </a:defRPr>
              </a:lvl9pPr>
            </a:lstStyle>
            <a:p>
              <a:pPr marL="0" marR="0" lvl="3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2673"/>
                  </a:solidFill>
                  <a:effectLst/>
                  <a:uLnTx/>
                  <a:uFillTx/>
                  <a:ea typeface="Roboto"/>
                  <a:cs typeface="Arial" panose="020B0604020202020204" pitchFamily="34" charset="0"/>
                  <a:sym typeface="Roboto Regular"/>
                </a:rPr>
                <a:t>Шаг 2</a:t>
              </a:r>
              <a:endParaRPr kumimoji="0" lang="en-US" alt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2673"/>
                </a:solidFill>
                <a:effectLst/>
                <a:uLnTx/>
                <a:uFillTx/>
                <a:ea typeface="Roboto"/>
                <a:cs typeface="Arial" panose="020B0604020202020204" pitchFamily="34" charset="0"/>
                <a:sym typeface="Roboto Regular"/>
              </a:endParaRPr>
            </a:p>
          </p:txBody>
        </p:sp>
        <p:sp>
          <p:nvSpPr>
            <p:cNvPr id="67" name="Rectangle 23"/>
            <p:cNvSpPr>
              <a:spLocks noChangeArrowheads="1"/>
            </p:cNvSpPr>
            <p:nvPr/>
          </p:nvSpPr>
          <p:spPr bwMode="auto">
            <a:xfrm>
              <a:off x="3933393" y="1547088"/>
              <a:ext cx="3502579" cy="12926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27033" tIns="0" rIns="0" bIns="0">
              <a:spAutoFit/>
            </a:bodyPr>
            <a:lstStyle>
              <a:lvl1pPr marL="342900" indent="-342900" eaLnBrk="0" hangingPunct="0">
                <a:defRPr>
                  <a:solidFill>
                    <a:srgbClr val="000000"/>
                  </a:solidFill>
                  <a:latin typeface="Arial" panose="020B0604020202020204" pitchFamily="34" charset="0"/>
                  <a:ea typeface="Roboto Regular"/>
                  <a:cs typeface="Roboto Regular"/>
                  <a:sym typeface="Roboto Regular"/>
                </a:defRPr>
              </a:lvl1pPr>
              <a:lvl2pPr marL="742950" indent="-285750" eaLnBrk="0" hangingPunct="0">
                <a:defRPr>
                  <a:solidFill>
                    <a:srgbClr val="000000"/>
                  </a:solidFill>
                  <a:latin typeface="Arial" panose="020B0604020202020204" pitchFamily="34" charset="0"/>
                  <a:ea typeface="Roboto Regular"/>
                  <a:cs typeface="Roboto Regular"/>
                  <a:sym typeface="Roboto Regular"/>
                </a:defRPr>
              </a:lvl2pPr>
              <a:lvl3pPr marL="1143000" indent="-228600" eaLnBrk="0" hangingPunct="0">
                <a:defRPr>
                  <a:solidFill>
                    <a:srgbClr val="000000"/>
                  </a:solidFill>
                  <a:latin typeface="Arial" panose="020B0604020202020204" pitchFamily="34" charset="0"/>
                  <a:ea typeface="Roboto Regular"/>
                  <a:cs typeface="Roboto Regular"/>
                  <a:sym typeface="Roboto Regular"/>
                </a:defRPr>
              </a:lvl3pPr>
              <a:lvl4pPr eaLnBrk="0" hangingPunct="0">
                <a:defRPr>
                  <a:solidFill>
                    <a:srgbClr val="000000"/>
                  </a:solidFill>
                  <a:latin typeface="Arial" panose="020B0604020202020204" pitchFamily="34" charset="0"/>
                  <a:ea typeface="Roboto Regular"/>
                  <a:cs typeface="Roboto Regular"/>
                  <a:sym typeface="Roboto Regular"/>
                </a:defRPr>
              </a:lvl4pPr>
              <a:lvl5pPr marL="2057400" indent="-228600" eaLnBrk="0" hangingPunct="0">
                <a:defRPr>
                  <a:solidFill>
                    <a:srgbClr val="000000"/>
                  </a:solidFill>
                  <a:latin typeface="Arial" panose="020B0604020202020204" pitchFamily="34" charset="0"/>
                  <a:ea typeface="Roboto Regular"/>
                  <a:cs typeface="Roboto Regular"/>
                  <a:sym typeface="Roboto Regular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Roboto Regular"/>
                  <a:cs typeface="Roboto Regular"/>
                  <a:sym typeface="Roboto Regular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Roboto Regular"/>
                  <a:cs typeface="Roboto Regular"/>
                  <a:sym typeface="Roboto Regular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Roboto Regular"/>
                  <a:cs typeface="Roboto Regular"/>
                  <a:sym typeface="Roboto Regular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Roboto Regular"/>
                  <a:cs typeface="Roboto Regular"/>
                  <a:sym typeface="Roboto Regular"/>
                </a:defRPr>
              </a:lvl9pPr>
            </a:lstStyle>
            <a:p>
              <a:pPr marL="0" marR="0" lvl="0" indent="-34290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3399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  <a:sym typeface="Roboto Regular"/>
                </a:rPr>
                <a:t>       Составление для почтальона списка </a:t>
              </a:r>
              <a:br>
                <a:rPr kumimoji="0" lang="ru-RU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3399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  <a:sym typeface="Roboto Regular"/>
                </a:rPr>
              </a:br>
              <a:r>
                <a:rPr kumimoji="0" lang="ru-RU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3399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  <a:sym typeface="Roboto Regular"/>
                </a:rPr>
                <a:t>адресов граждан </a:t>
              </a:r>
              <a:r>
                <a:rPr kumimoji="0" lang="ru-RU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3399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  <a:sym typeface="Roboto Regular"/>
                </a:rPr>
                <a:t>для анкетирования </a:t>
              </a:r>
              <a:br>
                <a:rPr kumimoji="0" lang="ru-RU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3399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  <a:sym typeface="Roboto Regular"/>
                </a:rPr>
              </a:br>
              <a:r>
                <a:rPr kumimoji="0" lang="ru-RU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3399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  <a:sym typeface="Roboto Regular"/>
                </a:rPr>
                <a:t>и формирование </a:t>
              </a:r>
              <a:r>
                <a:rPr kumimoji="0" lang="ru-RU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3399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  <a:sym typeface="Roboto Regular"/>
                </a:rPr>
                <a:t>персонального набора </a:t>
              </a:r>
              <a:r>
                <a:rPr kumimoji="0" lang="ru-RU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3399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  <a:sym typeface="Roboto Regular"/>
                </a:rPr>
                <a:t>почтальона (планшет (МПКТ) и пакет документов)</a:t>
              </a: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ea typeface="+mn-ea"/>
                <a:cs typeface="Arial" panose="020B0604020202020204" pitchFamily="34" charset="0"/>
                <a:sym typeface="Roboto Regular"/>
              </a:endParaRPr>
            </a:p>
            <a:p>
              <a:pPr marL="342900" marR="0" lvl="0" indent="-342900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cs typeface="Arial" panose="020B0604020202020204" pitchFamily="34" charset="0"/>
                <a:sym typeface="Roboto Regular"/>
              </a:endParaRPr>
            </a:p>
          </p:txBody>
        </p:sp>
      </p:grpSp>
      <p:sp>
        <p:nvSpPr>
          <p:cNvPr id="68" name="Rectangle 23"/>
          <p:cNvSpPr>
            <a:spLocks noChangeArrowheads="1"/>
          </p:cNvSpPr>
          <p:nvPr/>
        </p:nvSpPr>
        <p:spPr bwMode="auto">
          <a:xfrm>
            <a:off x="9088897" y="1296351"/>
            <a:ext cx="1641378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7033" tIns="0" rIns="0" bIns="0">
            <a:spAutoFit/>
          </a:bodyPr>
          <a:lstStyle>
            <a:lvl1pPr marL="342900" indent="-342900" eaLnBrk="0" hangingPunct="0"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1pPr>
            <a:lvl2pPr marL="742950" indent="-285750" eaLnBrk="0" hangingPunct="0"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2pPr>
            <a:lvl3pPr marL="1143000" indent="-228600" eaLnBrk="0" hangingPunct="0"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3pPr>
            <a:lvl4pPr eaLnBrk="0" hangingPunct="0"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4pPr>
            <a:lvl5pPr marL="2057400" indent="-228600" eaLnBrk="0" hangingPunct="0"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9pPr>
          </a:lstStyle>
          <a:p>
            <a:pPr marL="0" marR="0" lvl="3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2673"/>
                </a:solidFill>
                <a:effectLst/>
                <a:uLnTx/>
                <a:uFillTx/>
                <a:ea typeface="Roboto"/>
                <a:cs typeface="Arial" panose="020B0604020202020204" pitchFamily="34" charset="0"/>
                <a:sym typeface="Roboto Regular"/>
              </a:rPr>
              <a:t>Шаг 3</a:t>
            </a:r>
            <a:endParaRPr kumimoji="0" lang="en-US" altLang="ru-RU" sz="1400" b="1" i="0" u="none" strike="noStrike" kern="0" cap="none" spc="0" normalizeH="0" baseline="0" noProof="0" dirty="0">
              <a:ln>
                <a:noFill/>
              </a:ln>
              <a:solidFill>
                <a:srgbClr val="002673"/>
              </a:solidFill>
              <a:effectLst/>
              <a:uLnTx/>
              <a:uFillTx/>
              <a:ea typeface="Roboto"/>
              <a:cs typeface="Arial" panose="020B0604020202020204" pitchFamily="34" charset="0"/>
              <a:sym typeface="Roboto Regular"/>
            </a:endParaRPr>
          </a:p>
        </p:txBody>
      </p:sp>
      <p:sp>
        <p:nvSpPr>
          <p:cNvPr id="69" name="Rectangle 23"/>
          <p:cNvSpPr>
            <a:spLocks noChangeArrowheads="1"/>
          </p:cNvSpPr>
          <p:nvPr/>
        </p:nvSpPr>
        <p:spPr bwMode="auto">
          <a:xfrm>
            <a:off x="8326944" y="1580966"/>
            <a:ext cx="3115297" cy="86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7033" tIns="0" rIns="0" bIns="0">
            <a:spAutoFit/>
          </a:bodyPr>
          <a:lstStyle>
            <a:lvl1pPr marL="342900" indent="-342900" eaLnBrk="0" hangingPunct="0"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1pPr>
            <a:lvl2pPr marL="742950" indent="-285750" eaLnBrk="0" hangingPunct="0"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2pPr>
            <a:lvl3pPr marL="1143000" indent="-228600" eaLnBrk="0" hangingPunct="0"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3pPr>
            <a:lvl4pPr eaLnBrk="0" hangingPunct="0"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4pPr>
            <a:lvl5pPr marL="2057400" indent="-228600" eaLnBrk="0" hangingPunct="0"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9pPr>
          </a:lstStyle>
          <a:p>
            <a:pPr marL="342900" marR="0" lvl="0" indent="-34290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ea typeface="+mn-ea"/>
                <a:cs typeface="Arial" panose="020B0604020202020204" pitchFamily="34" charset="0"/>
                <a:sym typeface="Roboto Regular"/>
              </a:rPr>
              <a:t>Идентификация 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ea typeface="+mn-ea"/>
                <a:cs typeface="Arial" panose="020B0604020202020204" pitchFamily="34" charset="0"/>
                <a:sym typeface="Roboto Regular"/>
              </a:rPr>
              <a:t>клиента </a:t>
            </a: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ea typeface="+mn-ea"/>
                <a:cs typeface="Arial" panose="020B0604020202020204" pitchFamily="34" charset="0"/>
                <a:sym typeface="Roboto Regular"/>
              </a:rPr>
              <a:t>и </a:t>
            </a: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ea typeface="+mn-ea"/>
                <a:cs typeface="Arial" panose="020B0604020202020204" pitchFamily="34" charset="0"/>
                <a:sym typeface="Roboto Regular"/>
              </a:rPr>
              <a:t>подписание необходимых </a:t>
            </a: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ea typeface="+mn-ea"/>
                <a:cs typeface="Arial" panose="020B0604020202020204" pitchFamily="34" charset="0"/>
                <a:sym typeface="Roboto Regular"/>
              </a:rPr>
              <a:t>документов 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ea typeface="+mn-ea"/>
                <a:cs typeface="Arial" panose="020B0604020202020204" pitchFamily="34" charset="0"/>
                <a:sym typeface="Roboto Regular"/>
              </a:rPr>
              <a:t>для проведения опроса </a:t>
            </a:r>
          </a:p>
        </p:txBody>
      </p:sp>
      <p:sp>
        <p:nvSpPr>
          <p:cNvPr id="70" name="Стрелка вправо 69"/>
          <p:cNvSpPr/>
          <p:nvPr/>
        </p:nvSpPr>
        <p:spPr>
          <a:xfrm>
            <a:off x="3602248" y="1702522"/>
            <a:ext cx="443859" cy="387915"/>
          </a:xfrm>
          <a:prstGeom prst="rightArrow">
            <a:avLst/>
          </a:prstGeom>
          <a:solidFill>
            <a:srgbClr val="00B0F0"/>
          </a:solidFill>
          <a:ln w="9525" cap="rnd" cmpd="sng" algn="ctr">
            <a:noFill/>
            <a:prstDash val="sysDot"/>
            <a:round/>
          </a:ln>
          <a:effectLst/>
        </p:spPr>
        <p:txBody>
          <a:bodyPr anchor="ctr"/>
          <a:lstStyle/>
          <a:p>
            <a:pPr marL="0" marR="0" lvl="0" indent="0" algn="ctr" defTabSz="91440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751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0" cap="none" spc="0" normalizeH="0" baseline="0" noProof="0" dirty="0" err="1">
              <a:ln>
                <a:noFill/>
              </a:ln>
              <a:solidFill>
                <a:srgbClr val="4F81BD">
                  <a:lumMod val="60000"/>
                  <a:lumOff val="40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Скругленный прямоугольник 70"/>
          <p:cNvSpPr/>
          <p:nvPr/>
        </p:nvSpPr>
        <p:spPr>
          <a:xfrm>
            <a:off x="8171399" y="4659303"/>
            <a:ext cx="3366889" cy="1486567"/>
          </a:xfrm>
          <a:prstGeom prst="roundRect">
            <a:avLst/>
          </a:prstGeom>
          <a:noFill/>
          <a:ln w="9525" cap="rnd" cmpd="sng" algn="ctr">
            <a:solidFill>
              <a:srgbClr val="00529F"/>
            </a:solidFill>
            <a:prstDash val="dash"/>
            <a:round/>
          </a:ln>
          <a:effectLst/>
        </p:spPr>
        <p:txBody>
          <a:bodyPr anchor="ctr"/>
          <a:lstStyle/>
          <a:p>
            <a:pPr marL="0" marR="0" lvl="0" indent="0" algn="ctr" defTabSz="91440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751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0" cap="none" spc="0" normalizeH="0" baseline="0" noProof="0" dirty="0" err="1">
              <a:ln>
                <a:noFill/>
              </a:ln>
              <a:solidFill>
                <a:srgbClr val="4F81BD">
                  <a:lumMod val="60000"/>
                  <a:lumOff val="40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Rectangle 23"/>
          <p:cNvSpPr>
            <a:spLocks noChangeArrowheads="1"/>
          </p:cNvSpPr>
          <p:nvPr/>
        </p:nvSpPr>
        <p:spPr bwMode="auto">
          <a:xfrm>
            <a:off x="9017173" y="4770384"/>
            <a:ext cx="164285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7033" tIns="0" rIns="0" bIns="0">
            <a:spAutoFit/>
          </a:bodyPr>
          <a:lstStyle>
            <a:lvl1pPr marL="342900" indent="-342900" eaLnBrk="0" hangingPunct="0"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1pPr>
            <a:lvl2pPr marL="742950" indent="-285750" eaLnBrk="0" hangingPunct="0"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2pPr>
            <a:lvl3pPr marL="1143000" indent="-228600" eaLnBrk="0" hangingPunct="0"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3pPr>
            <a:lvl4pPr eaLnBrk="0" hangingPunct="0"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4pPr>
            <a:lvl5pPr marL="2057400" indent="-228600" eaLnBrk="0" hangingPunct="0"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9pPr>
          </a:lstStyle>
          <a:p>
            <a:pPr marL="0" marR="0" lvl="3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2673"/>
                </a:solidFill>
                <a:effectLst/>
                <a:uLnTx/>
                <a:uFillTx/>
                <a:ea typeface="Roboto"/>
                <a:cs typeface="Arial" panose="020B0604020202020204" pitchFamily="34" charset="0"/>
                <a:sym typeface="Roboto Regular"/>
              </a:rPr>
              <a:t>Шаг 4</a:t>
            </a:r>
            <a:endParaRPr kumimoji="0" lang="en-US" altLang="ru-RU" sz="1400" b="1" i="0" u="none" strike="noStrike" kern="0" cap="none" spc="0" normalizeH="0" baseline="0" noProof="0" dirty="0">
              <a:ln>
                <a:noFill/>
              </a:ln>
              <a:solidFill>
                <a:srgbClr val="002673"/>
              </a:solidFill>
              <a:effectLst/>
              <a:uLnTx/>
              <a:uFillTx/>
              <a:ea typeface="Roboto"/>
              <a:cs typeface="Arial" panose="020B0604020202020204" pitchFamily="34" charset="0"/>
              <a:sym typeface="Roboto Regular"/>
            </a:endParaRPr>
          </a:p>
        </p:txBody>
      </p:sp>
      <p:sp>
        <p:nvSpPr>
          <p:cNvPr id="73" name="Rectangle 23"/>
          <p:cNvSpPr>
            <a:spLocks noChangeArrowheads="1"/>
          </p:cNvSpPr>
          <p:nvPr/>
        </p:nvSpPr>
        <p:spPr bwMode="auto">
          <a:xfrm>
            <a:off x="8280950" y="5301780"/>
            <a:ext cx="3115297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7033" tIns="0" rIns="0" bIns="0">
            <a:spAutoFit/>
          </a:bodyPr>
          <a:lstStyle>
            <a:lvl1pPr marL="342900" indent="-342900" eaLnBrk="0" hangingPunct="0"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1pPr>
            <a:lvl2pPr marL="742950" indent="-285750" eaLnBrk="0" hangingPunct="0"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2pPr>
            <a:lvl3pPr marL="1143000" indent="-228600" eaLnBrk="0" hangingPunct="0"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3pPr>
            <a:lvl4pPr eaLnBrk="0" hangingPunct="0"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4pPr>
            <a:lvl5pPr marL="2057400" indent="-228600" eaLnBrk="0" hangingPunct="0"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9pPr>
          </a:lstStyle>
          <a:p>
            <a:pPr marL="0" marR="0" lvl="3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ea typeface="+mn-ea"/>
                <a:cs typeface="Arial" panose="020B0604020202020204" pitchFamily="34" charset="0"/>
                <a:sym typeface="Roboto Regular"/>
              </a:rPr>
              <a:t>Проведение </a:t>
            </a:r>
            <a:r>
              <a:rPr kumimoji="0" lang="ru-RU" alt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ea typeface="+mn-ea"/>
                <a:cs typeface="Arial" panose="020B0604020202020204" pitchFamily="34" charset="0"/>
                <a:sym typeface="Roboto Regular"/>
              </a:rPr>
              <a:t>опроса</a:t>
            </a:r>
          </a:p>
          <a:p>
            <a:pPr marL="0" marR="0" lvl="3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ea typeface="+mn-ea"/>
                <a:cs typeface="Arial" panose="020B0604020202020204" pitchFamily="34" charset="0"/>
                <a:sym typeface="Roboto Regular"/>
              </a:rPr>
              <a:t>(на бумажном носителе или в электронном виде (на МПКТ)</a:t>
            </a:r>
            <a:r>
              <a:rPr kumimoji="0" lang="ru-RU" alt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ea typeface="+mn-ea"/>
                <a:cs typeface="Arial" panose="020B0604020202020204" pitchFamily="34" charset="0"/>
                <a:sym typeface="Roboto Regular"/>
              </a:rPr>
              <a:t> </a:t>
            </a:r>
            <a:endParaRPr kumimoji="0" lang="ru-RU" altLang="ru-RU" sz="1400" b="0" i="0" u="none" strike="noStrike" kern="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ea typeface="+mn-ea"/>
              <a:cs typeface="Arial" panose="020B0604020202020204" pitchFamily="34" charset="0"/>
              <a:sym typeface="Roboto Regular"/>
            </a:endParaRPr>
          </a:p>
        </p:txBody>
      </p:sp>
      <p:sp>
        <p:nvSpPr>
          <p:cNvPr id="74" name="Скругленный прямоугольник 73"/>
          <p:cNvSpPr/>
          <p:nvPr/>
        </p:nvSpPr>
        <p:spPr>
          <a:xfrm>
            <a:off x="4602447" y="4681532"/>
            <a:ext cx="2958021" cy="1464338"/>
          </a:xfrm>
          <a:prstGeom prst="roundRect">
            <a:avLst/>
          </a:prstGeom>
          <a:noFill/>
          <a:ln w="9525" cap="rnd" cmpd="sng" algn="ctr">
            <a:solidFill>
              <a:srgbClr val="00529F"/>
            </a:solidFill>
            <a:prstDash val="dash"/>
            <a:round/>
          </a:ln>
          <a:effectLst/>
        </p:spPr>
        <p:txBody>
          <a:bodyPr anchor="ctr"/>
          <a:lstStyle/>
          <a:p>
            <a:pPr marL="0" marR="0" lvl="0" indent="0" algn="ctr" defTabSz="91440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751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0" cap="none" spc="0" normalizeH="0" baseline="0" noProof="0" dirty="0" err="1">
              <a:ln>
                <a:noFill/>
              </a:ln>
              <a:solidFill>
                <a:srgbClr val="4F81BD">
                  <a:lumMod val="60000"/>
                  <a:lumOff val="40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Rectangle 23"/>
          <p:cNvSpPr>
            <a:spLocks noChangeArrowheads="1"/>
          </p:cNvSpPr>
          <p:nvPr/>
        </p:nvSpPr>
        <p:spPr bwMode="auto">
          <a:xfrm>
            <a:off x="5277390" y="4751149"/>
            <a:ext cx="164285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7033" tIns="0" rIns="0" bIns="0">
            <a:spAutoFit/>
          </a:bodyPr>
          <a:lstStyle>
            <a:lvl1pPr marL="342900" indent="-342900" eaLnBrk="0" hangingPunct="0"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1pPr>
            <a:lvl2pPr marL="742950" indent="-285750" eaLnBrk="0" hangingPunct="0"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2pPr>
            <a:lvl3pPr marL="1143000" indent="-228600" eaLnBrk="0" hangingPunct="0"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3pPr>
            <a:lvl4pPr eaLnBrk="0" hangingPunct="0"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4pPr>
            <a:lvl5pPr marL="2057400" indent="-228600" eaLnBrk="0" hangingPunct="0"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9pPr>
          </a:lstStyle>
          <a:p>
            <a:pPr marL="0" marR="0" lvl="3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2673"/>
                </a:solidFill>
                <a:effectLst/>
                <a:uLnTx/>
                <a:uFillTx/>
                <a:ea typeface="Roboto"/>
                <a:cs typeface="Arial" panose="020B0604020202020204" pitchFamily="34" charset="0"/>
                <a:sym typeface="Roboto Regular"/>
              </a:rPr>
              <a:t>Шаг 5</a:t>
            </a:r>
            <a:endParaRPr kumimoji="0" lang="en-US" altLang="ru-RU" sz="1400" b="1" i="0" u="none" strike="noStrike" kern="0" cap="none" spc="0" normalizeH="0" baseline="0" noProof="0" dirty="0">
              <a:ln>
                <a:noFill/>
              </a:ln>
              <a:solidFill>
                <a:srgbClr val="002673"/>
              </a:solidFill>
              <a:effectLst/>
              <a:uLnTx/>
              <a:uFillTx/>
              <a:ea typeface="Roboto"/>
              <a:cs typeface="Arial" panose="020B0604020202020204" pitchFamily="34" charset="0"/>
              <a:sym typeface="Roboto Regular"/>
            </a:endParaRPr>
          </a:p>
        </p:txBody>
      </p:sp>
      <p:sp>
        <p:nvSpPr>
          <p:cNvPr id="76" name="Rectangle 23"/>
          <p:cNvSpPr>
            <a:spLocks noChangeArrowheads="1"/>
          </p:cNvSpPr>
          <p:nvPr/>
        </p:nvSpPr>
        <p:spPr bwMode="auto">
          <a:xfrm>
            <a:off x="4650641" y="5244800"/>
            <a:ext cx="2870933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7033" tIns="0" rIns="0" bIns="0">
            <a:spAutoFit/>
          </a:bodyPr>
          <a:lstStyle>
            <a:lvl1pPr marL="342900" indent="-342900" eaLnBrk="0" hangingPunct="0"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1pPr>
            <a:lvl2pPr marL="742950" indent="-285750" eaLnBrk="0" hangingPunct="0"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2pPr>
            <a:lvl3pPr marL="1143000" indent="-228600" eaLnBrk="0" hangingPunct="0"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3pPr>
            <a:lvl4pPr eaLnBrk="0" hangingPunct="0"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4pPr>
            <a:lvl5pPr marL="2057400" indent="-228600" eaLnBrk="0" hangingPunct="0"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9pPr>
          </a:lstStyle>
          <a:p>
            <a:pPr marL="0" marR="0" lvl="3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ea typeface="+mn-ea"/>
                <a:cs typeface="Arial" panose="020B0604020202020204" pitchFamily="34" charset="0"/>
                <a:sym typeface="Roboto Regular"/>
              </a:rPr>
              <a:t>Передача заполненных анкет заказчику </a:t>
            </a:r>
            <a:r>
              <a:rPr kumimoji="0" lang="ru-RU" alt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ea typeface="+mn-ea"/>
                <a:cs typeface="Arial" panose="020B0604020202020204" pitchFamily="34" charset="0"/>
                <a:sym typeface="Roboto Regular"/>
              </a:rPr>
              <a:t>в </a:t>
            </a:r>
            <a:r>
              <a:rPr kumimoji="0" lang="ru-RU" alt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ea typeface="+mn-ea"/>
                <a:cs typeface="Arial" panose="020B0604020202020204" pitchFamily="34" charset="0"/>
                <a:sym typeface="Roboto Regular"/>
              </a:rPr>
              <a:t>бумажном виде или онлайн по защищенным каналам  </a:t>
            </a:r>
          </a:p>
        </p:txBody>
      </p:sp>
      <p:sp>
        <p:nvSpPr>
          <p:cNvPr id="77" name="Скругленный прямоугольник 76"/>
          <p:cNvSpPr/>
          <p:nvPr/>
        </p:nvSpPr>
        <p:spPr>
          <a:xfrm>
            <a:off x="820942" y="4681532"/>
            <a:ext cx="3170574" cy="1417317"/>
          </a:xfrm>
          <a:prstGeom prst="roundRect">
            <a:avLst/>
          </a:prstGeom>
          <a:noFill/>
          <a:ln w="9525" cap="rnd" cmpd="sng" algn="ctr">
            <a:solidFill>
              <a:srgbClr val="00529F"/>
            </a:solidFill>
            <a:prstDash val="dash"/>
            <a:round/>
          </a:ln>
          <a:effectLst/>
        </p:spPr>
        <p:txBody>
          <a:bodyPr anchor="ctr"/>
          <a:lstStyle/>
          <a:p>
            <a:pPr marL="0" marR="0" lvl="0" indent="0" algn="ctr" defTabSz="91440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751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0" cap="none" spc="0" normalizeH="0" baseline="0" noProof="0" dirty="0" err="1">
              <a:ln>
                <a:noFill/>
              </a:ln>
              <a:solidFill>
                <a:srgbClr val="4F81BD">
                  <a:lumMod val="60000"/>
                  <a:lumOff val="40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Rectangle 23"/>
          <p:cNvSpPr>
            <a:spLocks noChangeArrowheads="1"/>
          </p:cNvSpPr>
          <p:nvPr/>
        </p:nvSpPr>
        <p:spPr bwMode="auto">
          <a:xfrm>
            <a:off x="1566648" y="4732525"/>
            <a:ext cx="1641378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7033" tIns="0" rIns="0" bIns="0">
            <a:spAutoFit/>
          </a:bodyPr>
          <a:lstStyle>
            <a:lvl1pPr marL="342900" indent="-342900" eaLnBrk="0" hangingPunct="0"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1pPr>
            <a:lvl2pPr marL="742950" indent="-285750" eaLnBrk="0" hangingPunct="0"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2pPr>
            <a:lvl3pPr marL="1143000" indent="-228600" eaLnBrk="0" hangingPunct="0"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3pPr>
            <a:lvl4pPr eaLnBrk="0" hangingPunct="0"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4pPr>
            <a:lvl5pPr marL="2057400" indent="-228600" eaLnBrk="0" hangingPunct="0"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9pPr>
          </a:lstStyle>
          <a:p>
            <a:pPr marL="0" marR="0" lvl="3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2673"/>
                </a:solidFill>
                <a:effectLst/>
                <a:uLnTx/>
                <a:uFillTx/>
                <a:ea typeface="Roboto"/>
                <a:cs typeface="Arial" panose="020B0604020202020204" pitchFamily="34" charset="0"/>
                <a:sym typeface="Roboto Regular"/>
              </a:rPr>
              <a:t>Шаг 6</a:t>
            </a:r>
            <a:endParaRPr kumimoji="0" lang="en-US" altLang="ru-RU" sz="1400" b="1" i="0" u="none" strike="noStrike" kern="0" cap="none" spc="0" normalizeH="0" baseline="0" noProof="0" dirty="0">
              <a:ln>
                <a:noFill/>
              </a:ln>
              <a:solidFill>
                <a:srgbClr val="002673"/>
              </a:solidFill>
              <a:effectLst/>
              <a:uLnTx/>
              <a:uFillTx/>
              <a:ea typeface="Roboto"/>
              <a:cs typeface="Arial" panose="020B0604020202020204" pitchFamily="34" charset="0"/>
              <a:sym typeface="Roboto Regular"/>
            </a:endParaRPr>
          </a:p>
        </p:txBody>
      </p:sp>
      <p:sp>
        <p:nvSpPr>
          <p:cNvPr id="79" name="Rectangle 23"/>
          <p:cNvSpPr>
            <a:spLocks noChangeArrowheads="1"/>
          </p:cNvSpPr>
          <p:nvPr/>
        </p:nvSpPr>
        <p:spPr bwMode="auto">
          <a:xfrm>
            <a:off x="951747" y="5283603"/>
            <a:ext cx="2925605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7033" tIns="0" rIns="0" bIns="0">
            <a:spAutoFit/>
          </a:bodyPr>
          <a:lstStyle>
            <a:lvl1pPr marL="342900" indent="-342900" eaLnBrk="0" hangingPunct="0"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1pPr>
            <a:lvl2pPr marL="742950" indent="-285750" eaLnBrk="0" hangingPunct="0"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2pPr>
            <a:lvl3pPr marL="1143000" indent="-228600" eaLnBrk="0" hangingPunct="0"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3pPr>
            <a:lvl4pPr eaLnBrk="0" hangingPunct="0"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4pPr>
            <a:lvl5pPr marL="2057400" indent="-228600" eaLnBrk="0" hangingPunct="0"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ea typeface="Roboto Regular"/>
                <a:cs typeface="Roboto Regular"/>
                <a:sym typeface="Roboto Regular"/>
              </a:defRPr>
            </a:lvl9pPr>
          </a:lstStyle>
          <a:p>
            <a:pPr marL="0" marR="0" lvl="3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ea typeface="+mn-ea"/>
                <a:cs typeface="Arial" panose="020B0604020202020204" pitchFamily="34" charset="0"/>
                <a:sym typeface="Roboto Regular"/>
              </a:rPr>
              <a:t>Подписание </a:t>
            </a:r>
            <a:r>
              <a:rPr kumimoji="0" lang="ru-RU" altLang="ru-RU" sz="1400" i="0" u="none" strike="noStrike" kern="0" cap="none" spc="0" normalizeH="0" baseline="0" noProof="0" dirty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ea typeface="+mn-ea"/>
                <a:cs typeface="Arial" panose="020B0604020202020204" pitchFamily="34" charset="0"/>
                <a:sym typeface="Roboto Regular"/>
              </a:rPr>
              <a:t>акта выполненных работ</a:t>
            </a:r>
            <a:endParaRPr kumimoji="0" lang="ru-RU" altLang="ru-RU" sz="1400" i="0" u="none" strike="noStrike" kern="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ea typeface="+mn-ea"/>
              <a:cs typeface="Arial" panose="020B0604020202020204" pitchFamily="34" charset="0"/>
              <a:sym typeface="Roboto Regular"/>
            </a:endParaRPr>
          </a:p>
        </p:txBody>
      </p:sp>
      <p:sp>
        <p:nvSpPr>
          <p:cNvPr id="80" name="Стрелка вправо 79"/>
          <p:cNvSpPr/>
          <p:nvPr/>
        </p:nvSpPr>
        <p:spPr>
          <a:xfrm>
            <a:off x="7716781" y="1702522"/>
            <a:ext cx="460531" cy="387915"/>
          </a:xfrm>
          <a:prstGeom prst="rightArrow">
            <a:avLst/>
          </a:prstGeom>
          <a:solidFill>
            <a:srgbClr val="00B0F0"/>
          </a:solidFill>
          <a:ln w="9525" cap="rnd" cmpd="sng" algn="ctr">
            <a:noFill/>
            <a:prstDash val="sysDot"/>
            <a:round/>
          </a:ln>
          <a:effectLst/>
        </p:spPr>
        <p:txBody>
          <a:bodyPr anchor="ctr"/>
          <a:lstStyle/>
          <a:p>
            <a:pPr marL="0" marR="0" lvl="0" indent="0" algn="ctr" defTabSz="91440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751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0" cap="none" spc="0" normalizeH="0" baseline="0" noProof="0" dirty="0" err="1">
              <a:ln>
                <a:noFill/>
              </a:ln>
              <a:solidFill>
                <a:srgbClr val="4F81BD">
                  <a:lumMod val="60000"/>
                  <a:lumOff val="40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Стрелка вправо 80"/>
          <p:cNvSpPr/>
          <p:nvPr/>
        </p:nvSpPr>
        <p:spPr>
          <a:xfrm rot="5400000">
            <a:off x="11453661" y="2609645"/>
            <a:ext cx="552631" cy="340970"/>
          </a:xfrm>
          <a:prstGeom prst="rightArrow">
            <a:avLst/>
          </a:prstGeom>
          <a:solidFill>
            <a:srgbClr val="00B0F0"/>
          </a:solidFill>
          <a:ln w="9525" cap="rnd" cmpd="sng" algn="ctr">
            <a:noFill/>
            <a:prstDash val="sysDot"/>
            <a:round/>
          </a:ln>
          <a:effectLst/>
        </p:spPr>
        <p:txBody>
          <a:bodyPr anchor="ctr"/>
          <a:lstStyle/>
          <a:p>
            <a:pPr marL="0" marR="0" lvl="0" indent="0" algn="ctr" defTabSz="91440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751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4F81BD">
                  <a:lumMod val="60000"/>
                  <a:lumOff val="40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Стрелка вправо 81"/>
          <p:cNvSpPr/>
          <p:nvPr/>
        </p:nvSpPr>
        <p:spPr>
          <a:xfrm rot="10800000">
            <a:off x="7577413" y="5301780"/>
            <a:ext cx="480153" cy="387915"/>
          </a:xfrm>
          <a:prstGeom prst="rightArrow">
            <a:avLst/>
          </a:prstGeom>
          <a:solidFill>
            <a:srgbClr val="00B0F0"/>
          </a:solidFill>
          <a:ln w="9525" cap="rnd" cmpd="sng" algn="ctr">
            <a:noFill/>
            <a:prstDash val="sysDot"/>
            <a:round/>
          </a:ln>
          <a:effectLst/>
        </p:spPr>
        <p:txBody>
          <a:bodyPr anchor="ctr"/>
          <a:lstStyle/>
          <a:p>
            <a:pPr marL="0" marR="0" lvl="0" indent="0" algn="ctr" defTabSz="91440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751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0" cap="none" spc="0" normalizeH="0" baseline="0" noProof="0" dirty="0" err="1">
              <a:ln>
                <a:noFill/>
              </a:ln>
              <a:solidFill>
                <a:srgbClr val="4F81BD">
                  <a:lumMod val="60000"/>
                  <a:lumOff val="40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Стрелка вправо 82"/>
          <p:cNvSpPr/>
          <p:nvPr/>
        </p:nvSpPr>
        <p:spPr>
          <a:xfrm rot="10800000">
            <a:off x="4008077" y="5309584"/>
            <a:ext cx="460531" cy="387915"/>
          </a:xfrm>
          <a:prstGeom prst="rightArrow">
            <a:avLst/>
          </a:prstGeom>
          <a:solidFill>
            <a:srgbClr val="00B0F0"/>
          </a:solidFill>
          <a:ln w="9525" cap="rnd" cmpd="sng" algn="ctr">
            <a:noFill/>
            <a:prstDash val="sysDot"/>
            <a:round/>
          </a:ln>
          <a:effectLst/>
        </p:spPr>
        <p:txBody>
          <a:bodyPr anchor="ctr"/>
          <a:lstStyle/>
          <a:p>
            <a:pPr marL="0" marR="0" lvl="0" indent="0" algn="ctr" defTabSz="91440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751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0" cap="none" spc="0" normalizeH="0" baseline="0" noProof="0" dirty="0" err="1">
              <a:ln>
                <a:noFill/>
              </a:ln>
              <a:solidFill>
                <a:srgbClr val="4F81BD">
                  <a:lumMod val="60000"/>
                  <a:lumOff val="40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Стрелка вправо 83"/>
          <p:cNvSpPr/>
          <p:nvPr/>
        </p:nvSpPr>
        <p:spPr>
          <a:xfrm rot="5400000">
            <a:off x="11485004" y="4490440"/>
            <a:ext cx="552631" cy="340970"/>
          </a:xfrm>
          <a:prstGeom prst="rightArrow">
            <a:avLst/>
          </a:prstGeom>
          <a:solidFill>
            <a:srgbClr val="00B0F0"/>
          </a:solidFill>
          <a:ln w="9525" cap="rnd" cmpd="sng" algn="ctr">
            <a:noFill/>
            <a:prstDash val="sysDot"/>
            <a:round/>
          </a:ln>
          <a:effectLst/>
        </p:spPr>
        <p:txBody>
          <a:bodyPr anchor="ctr"/>
          <a:lstStyle/>
          <a:p>
            <a:pPr marL="0" marR="0" lvl="0" indent="0" algn="ctr" defTabSz="91440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751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4F81BD">
                  <a:lumMod val="60000"/>
                  <a:lumOff val="40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6" name="Group 6"/>
          <p:cNvGrpSpPr>
            <a:grpSpLocks noChangeAspect="1"/>
          </p:cNvGrpSpPr>
          <p:nvPr/>
        </p:nvGrpSpPr>
        <p:grpSpPr>
          <a:xfrm>
            <a:off x="5326249" y="3325548"/>
            <a:ext cx="727680" cy="828635"/>
            <a:chOff x="5273803" y="2606040"/>
            <a:chExt cx="1644396" cy="1645920"/>
          </a:xfrm>
        </p:grpSpPr>
        <p:sp>
          <p:nvSpPr>
            <p:cNvPr id="114" name="AutoShape 18">
              <a:extLst>
                <a:ext uri="{FF2B5EF4-FFF2-40B4-BE49-F238E27FC236}">
                  <a16:creationId xmlns:a16="http://schemas.microsoft.com/office/drawing/2014/main" id="{575286B9-FCC8-4EFB-9834-BD5493C559C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803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665" tIns="34332" rIns="68665" bIns="34332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15" name="Group 8"/>
            <p:cNvGrpSpPr/>
            <p:nvPr/>
          </p:nvGrpSpPr>
          <p:grpSpPr>
            <a:xfrm>
              <a:off x="5336668" y="2770251"/>
              <a:ext cx="1515999" cy="1311783"/>
              <a:chOff x="5336668" y="2770251"/>
              <a:chExt cx="1515999" cy="1311783"/>
            </a:xfrm>
          </p:grpSpPr>
          <p:sp>
            <p:nvSpPr>
              <p:cNvPr id="116" name="Freeform 20">
                <a:extLst>
                  <a:ext uri="{FF2B5EF4-FFF2-40B4-BE49-F238E27FC236}">
                    <a16:creationId xmlns:a16="http://schemas.microsoft.com/office/drawing/2014/main" id="{CEF9E0BC-00B7-4B29-B377-3473BD5B2EB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36668" y="2770251"/>
                <a:ext cx="1515999" cy="1311783"/>
              </a:xfrm>
              <a:custGeom>
                <a:avLst/>
                <a:gdLst>
                  <a:gd name="T0" fmla="*/ 227 w 2124"/>
                  <a:gd name="T1" fmla="*/ 496 h 1836"/>
                  <a:gd name="T2" fmla="*/ 528 w 2124"/>
                  <a:gd name="T3" fmla="*/ 467 h 1836"/>
                  <a:gd name="T4" fmla="*/ 996 w 2124"/>
                  <a:gd name="T5" fmla="*/ 467 h 1836"/>
                  <a:gd name="T6" fmla="*/ 695 w 2124"/>
                  <a:gd name="T7" fmla="*/ 496 h 1836"/>
                  <a:gd name="T8" fmla="*/ 994 w 2124"/>
                  <a:gd name="T9" fmla="*/ 498 h 1836"/>
                  <a:gd name="T10" fmla="*/ 1130 w 2124"/>
                  <a:gd name="T11" fmla="*/ 467 h 1836"/>
                  <a:gd name="T12" fmla="*/ 1431 w 2124"/>
                  <a:gd name="T13" fmla="*/ 496 h 1836"/>
                  <a:gd name="T14" fmla="*/ 1933 w 2124"/>
                  <a:gd name="T15" fmla="*/ 467 h 1836"/>
                  <a:gd name="T16" fmla="*/ 1631 w 2124"/>
                  <a:gd name="T17" fmla="*/ 496 h 1836"/>
                  <a:gd name="T18" fmla="*/ 1930 w 2124"/>
                  <a:gd name="T19" fmla="*/ 498 h 1836"/>
                  <a:gd name="T20" fmla="*/ 427 w 2124"/>
                  <a:gd name="T21" fmla="*/ 273 h 1836"/>
                  <a:gd name="T22" fmla="*/ 729 w 2124"/>
                  <a:gd name="T23" fmla="*/ 301 h 1836"/>
                  <a:gd name="T24" fmla="*/ 1230 w 2124"/>
                  <a:gd name="T25" fmla="*/ 273 h 1836"/>
                  <a:gd name="T26" fmla="*/ 929 w 2124"/>
                  <a:gd name="T27" fmla="*/ 301 h 1836"/>
                  <a:gd name="T28" fmla="*/ 1228 w 2124"/>
                  <a:gd name="T29" fmla="*/ 304 h 1836"/>
                  <a:gd name="T30" fmla="*/ 1364 w 2124"/>
                  <a:gd name="T31" fmla="*/ 273 h 1836"/>
                  <a:gd name="T32" fmla="*/ 1665 w 2124"/>
                  <a:gd name="T33" fmla="*/ 301 h 1836"/>
                  <a:gd name="T34" fmla="*/ 996 w 2124"/>
                  <a:gd name="T35" fmla="*/ 78 h 1836"/>
                  <a:gd name="T36" fmla="*/ 695 w 2124"/>
                  <a:gd name="T37" fmla="*/ 107 h 1836"/>
                  <a:gd name="T38" fmla="*/ 994 w 2124"/>
                  <a:gd name="T39" fmla="*/ 109 h 1836"/>
                  <a:gd name="T40" fmla="*/ 1130 w 2124"/>
                  <a:gd name="T41" fmla="*/ 78 h 1836"/>
                  <a:gd name="T42" fmla="*/ 1431 w 2124"/>
                  <a:gd name="T43" fmla="*/ 107 h 1836"/>
                  <a:gd name="T44" fmla="*/ 1893 w 2124"/>
                  <a:gd name="T45" fmla="*/ 584 h 1836"/>
                  <a:gd name="T46" fmla="*/ 1893 w 2124"/>
                  <a:gd name="T47" fmla="*/ 628 h 1836"/>
                  <a:gd name="T48" fmla="*/ 2060 w 2124"/>
                  <a:gd name="T49" fmla="*/ 662 h 1836"/>
                  <a:gd name="T50" fmla="*/ 69 w 2124"/>
                  <a:gd name="T51" fmla="*/ 693 h 1836"/>
                  <a:gd name="T52" fmla="*/ 377 w 2124"/>
                  <a:gd name="T53" fmla="*/ 638 h 1836"/>
                  <a:gd name="T54" fmla="*/ 1533 w 2124"/>
                  <a:gd name="T55" fmla="*/ 1602 h 1836"/>
                  <a:gd name="T56" fmla="*/ 1155 w 2124"/>
                  <a:gd name="T57" fmla="*/ 1543 h 1836"/>
                  <a:gd name="T58" fmla="*/ 2102 w 2124"/>
                  <a:gd name="T59" fmla="*/ 1836 h 1836"/>
                  <a:gd name="T60" fmla="*/ 1191 w 2124"/>
                  <a:gd name="T61" fmla="*/ 1811 h 1836"/>
                  <a:gd name="T62" fmla="*/ 787 w 2124"/>
                  <a:gd name="T63" fmla="*/ 1449 h 1836"/>
                  <a:gd name="T64" fmla="*/ 404 w 2124"/>
                  <a:gd name="T65" fmla="*/ 1449 h 1836"/>
                  <a:gd name="T66" fmla="*/ 0 w 2124"/>
                  <a:gd name="T67" fmla="*/ 1814 h 1836"/>
                  <a:gd name="T68" fmla="*/ 1191 w 2124"/>
                  <a:gd name="T69" fmla="*/ 1811 h 1836"/>
                  <a:gd name="T70" fmla="*/ 896 w 2124"/>
                  <a:gd name="T71" fmla="*/ 662 h 1836"/>
                  <a:gd name="T72" fmla="*/ 1197 w 2124"/>
                  <a:gd name="T73" fmla="*/ 690 h 1836"/>
                  <a:gd name="T74" fmla="*/ 1356 w 2124"/>
                  <a:gd name="T75" fmla="*/ 1362 h 1836"/>
                  <a:gd name="T76" fmla="*/ 1407 w 2124"/>
                  <a:gd name="T77" fmla="*/ 1450 h 1836"/>
                  <a:gd name="T78" fmla="*/ 1649 w 2124"/>
                  <a:gd name="T79" fmla="*/ 1450 h 1836"/>
                  <a:gd name="T80" fmla="*/ 1701 w 2124"/>
                  <a:gd name="T81" fmla="*/ 1362 h 1836"/>
                  <a:gd name="T82" fmla="*/ 1796 w 2124"/>
                  <a:gd name="T83" fmla="*/ 1101 h 1836"/>
                  <a:gd name="T84" fmla="*/ 1528 w 2124"/>
                  <a:gd name="T85" fmla="*/ 1401 h 1836"/>
                  <a:gd name="T86" fmla="*/ 1261 w 2124"/>
                  <a:gd name="T87" fmla="*/ 1101 h 1836"/>
                  <a:gd name="T88" fmla="*/ 322 w 2124"/>
                  <a:gd name="T89" fmla="*/ 1157 h 1836"/>
                  <a:gd name="T90" fmla="*/ 440 w 2124"/>
                  <a:gd name="T91" fmla="*/ 1423 h 1836"/>
                  <a:gd name="T92" fmla="*/ 717 w 2124"/>
                  <a:gd name="T93" fmla="*/ 1399 h 1836"/>
                  <a:gd name="T94" fmla="*/ 761 w 2124"/>
                  <a:gd name="T95" fmla="*/ 1367 h 1836"/>
                  <a:gd name="T96" fmla="*/ 916 w 2124"/>
                  <a:gd name="T97" fmla="*/ 1076 h 1836"/>
                  <a:gd name="T98" fmla="*/ 738 w 2124"/>
                  <a:gd name="T99" fmla="*/ 1329 h 1836"/>
                  <a:gd name="T100" fmla="*/ 350 w 2124"/>
                  <a:gd name="T101" fmla="*/ 1122 h 1836"/>
                  <a:gd name="T102" fmla="*/ 322 w 2124"/>
                  <a:gd name="T103" fmla="*/ 1157 h 18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124" h="1836">
                    <a:moveTo>
                      <a:pt x="512" y="503"/>
                    </a:moveTo>
                    <a:cubicBezTo>
                      <a:pt x="505" y="503"/>
                      <a:pt x="499" y="501"/>
                      <a:pt x="495" y="496"/>
                    </a:cubicBezTo>
                    <a:cubicBezTo>
                      <a:pt x="461" y="456"/>
                      <a:pt x="413" y="433"/>
                      <a:pt x="361" y="433"/>
                    </a:cubicBezTo>
                    <a:cubicBezTo>
                      <a:pt x="309" y="433"/>
                      <a:pt x="260" y="456"/>
                      <a:pt x="227" y="496"/>
                    </a:cubicBezTo>
                    <a:cubicBezTo>
                      <a:pt x="219" y="505"/>
                      <a:pt x="205" y="506"/>
                      <a:pt x="196" y="498"/>
                    </a:cubicBezTo>
                    <a:cubicBezTo>
                      <a:pt x="187" y="491"/>
                      <a:pt x="186" y="477"/>
                      <a:pt x="193" y="467"/>
                    </a:cubicBezTo>
                    <a:cubicBezTo>
                      <a:pt x="235" y="418"/>
                      <a:pt x="296" y="389"/>
                      <a:pt x="361" y="389"/>
                    </a:cubicBezTo>
                    <a:cubicBezTo>
                      <a:pt x="426" y="389"/>
                      <a:pt x="487" y="418"/>
                      <a:pt x="528" y="467"/>
                    </a:cubicBezTo>
                    <a:cubicBezTo>
                      <a:pt x="536" y="477"/>
                      <a:pt x="535" y="491"/>
                      <a:pt x="526" y="498"/>
                    </a:cubicBezTo>
                    <a:cubicBezTo>
                      <a:pt x="522" y="502"/>
                      <a:pt x="516" y="503"/>
                      <a:pt x="512" y="503"/>
                    </a:cubicBezTo>
                    <a:close/>
                    <a:moveTo>
                      <a:pt x="994" y="498"/>
                    </a:moveTo>
                    <a:cubicBezTo>
                      <a:pt x="1003" y="491"/>
                      <a:pt x="1004" y="477"/>
                      <a:pt x="996" y="467"/>
                    </a:cubicBezTo>
                    <a:cubicBezTo>
                      <a:pt x="955" y="418"/>
                      <a:pt x="894" y="389"/>
                      <a:pt x="829" y="389"/>
                    </a:cubicBezTo>
                    <a:cubicBezTo>
                      <a:pt x="764" y="389"/>
                      <a:pt x="703" y="418"/>
                      <a:pt x="661" y="467"/>
                    </a:cubicBezTo>
                    <a:cubicBezTo>
                      <a:pt x="654" y="477"/>
                      <a:pt x="655" y="491"/>
                      <a:pt x="664" y="498"/>
                    </a:cubicBezTo>
                    <a:cubicBezTo>
                      <a:pt x="673" y="506"/>
                      <a:pt x="687" y="505"/>
                      <a:pt x="695" y="496"/>
                    </a:cubicBezTo>
                    <a:cubicBezTo>
                      <a:pt x="728" y="456"/>
                      <a:pt x="777" y="433"/>
                      <a:pt x="829" y="433"/>
                    </a:cubicBezTo>
                    <a:cubicBezTo>
                      <a:pt x="881" y="433"/>
                      <a:pt x="929" y="456"/>
                      <a:pt x="963" y="496"/>
                    </a:cubicBezTo>
                    <a:cubicBezTo>
                      <a:pt x="967" y="501"/>
                      <a:pt x="973" y="503"/>
                      <a:pt x="980" y="503"/>
                    </a:cubicBezTo>
                    <a:cubicBezTo>
                      <a:pt x="985" y="503"/>
                      <a:pt x="990" y="502"/>
                      <a:pt x="994" y="498"/>
                    </a:cubicBezTo>
                    <a:close/>
                    <a:moveTo>
                      <a:pt x="1462" y="498"/>
                    </a:moveTo>
                    <a:cubicBezTo>
                      <a:pt x="1471" y="491"/>
                      <a:pt x="1472" y="477"/>
                      <a:pt x="1465" y="467"/>
                    </a:cubicBezTo>
                    <a:cubicBezTo>
                      <a:pt x="1423" y="418"/>
                      <a:pt x="1362" y="389"/>
                      <a:pt x="1297" y="389"/>
                    </a:cubicBezTo>
                    <a:cubicBezTo>
                      <a:pt x="1232" y="389"/>
                      <a:pt x="1171" y="418"/>
                      <a:pt x="1130" y="467"/>
                    </a:cubicBezTo>
                    <a:cubicBezTo>
                      <a:pt x="1122" y="477"/>
                      <a:pt x="1123" y="491"/>
                      <a:pt x="1132" y="498"/>
                    </a:cubicBezTo>
                    <a:cubicBezTo>
                      <a:pt x="1142" y="506"/>
                      <a:pt x="1155" y="505"/>
                      <a:pt x="1163" y="496"/>
                    </a:cubicBezTo>
                    <a:cubicBezTo>
                      <a:pt x="1197" y="456"/>
                      <a:pt x="1245" y="433"/>
                      <a:pt x="1297" y="433"/>
                    </a:cubicBezTo>
                    <a:cubicBezTo>
                      <a:pt x="1349" y="433"/>
                      <a:pt x="1398" y="456"/>
                      <a:pt x="1431" y="496"/>
                    </a:cubicBezTo>
                    <a:cubicBezTo>
                      <a:pt x="1435" y="501"/>
                      <a:pt x="1441" y="503"/>
                      <a:pt x="1448" y="503"/>
                    </a:cubicBezTo>
                    <a:cubicBezTo>
                      <a:pt x="1453" y="503"/>
                      <a:pt x="1458" y="502"/>
                      <a:pt x="1462" y="498"/>
                    </a:cubicBezTo>
                    <a:close/>
                    <a:moveTo>
                      <a:pt x="1930" y="498"/>
                    </a:moveTo>
                    <a:cubicBezTo>
                      <a:pt x="1939" y="491"/>
                      <a:pt x="1940" y="477"/>
                      <a:pt x="1933" y="467"/>
                    </a:cubicBezTo>
                    <a:cubicBezTo>
                      <a:pt x="1891" y="418"/>
                      <a:pt x="1830" y="389"/>
                      <a:pt x="1765" y="389"/>
                    </a:cubicBezTo>
                    <a:cubicBezTo>
                      <a:pt x="1700" y="389"/>
                      <a:pt x="1639" y="418"/>
                      <a:pt x="1598" y="467"/>
                    </a:cubicBezTo>
                    <a:cubicBezTo>
                      <a:pt x="1590" y="477"/>
                      <a:pt x="1591" y="491"/>
                      <a:pt x="1600" y="498"/>
                    </a:cubicBezTo>
                    <a:cubicBezTo>
                      <a:pt x="1610" y="506"/>
                      <a:pt x="1624" y="505"/>
                      <a:pt x="1631" y="496"/>
                    </a:cubicBezTo>
                    <a:cubicBezTo>
                      <a:pt x="1665" y="456"/>
                      <a:pt x="1713" y="433"/>
                      <a:pt x="1765" y="433"/>
                    </a:cubicBezTo>
                    <a:cubicBezTo>
                      <a:pt x="1817" y="433"/>
                      <a:pt x="1866" y="456"/>
                      <a:pt x="1899" y="496"/>
                    </a:cubicBezTo>
                    <a:cubicBezTo>
                      <a:pt x="1903" y="501"/>
                      <a:pt x="1910" y="503"/>
                      <a:pt x="1916" y="503"/>
                    </a:cubicBezTo>
                    <a:cubicBezTo>
                      <a:pt x="1921" y="503"/>
                      <a:pt x="1926" y="502"/>
                      <a:pt x="1930" y="498"/>
                    </a:cubicBezTo>
                    <a:close/>
                    <a:moveTo>
                      <a:pt x="760" y="304"/>
                    </a:moveTo>
                    <a:cubicBezTo>
                      <a:pt x="769" y="296"/>
                      <a:pt x="770" y="282"/>
                      <a:pt x="762" y="273"/>
                    </a:cubicBezTo>
                    <a:cubicBezTo>
                      <a:pt x="721" y="223"/>
                      <a:pt x="660" y="195"/>
                      <a:pt x="595" y="195"/>
                    </a:cubicBezTo>
                    <a:cubicBezTo>
                      <a:pt x="530" y="195"/>
                      <a:pt x="469" y="223"/>
                      <a:pt x="427" y="273"/>
                    </a:cubicBezTo>
                    <a:cubicBezTo>
                      <a:pt x="420" y="282"/>
                      <a:pt x="421" y="296"/>
                      <a:pt x="430" y="304"/>
                    </a:cubicBezTo>
                    <a:cubicBezTo>
                      <a:pt x="439" y="312"/>
                      <a:pt x="453" y="310"/>
                      <a:pt x="461" y="301"/>
                    </a:cubicBezTo>
                    <a:cubicBezTo>
                      <a:pt x="494" y="262"/>
                      <a:pt x="543" y="239"/>
                      <a:pt x="595" y="239"/>
                    </a:cubicBezTo>
                    <a:cubicBezTo>
                      <a:pt x="647" y="239"/>
                      <a:pt x="695" y="262"/>
                      <a:pt x="729" y="301"/>
                    </a:cubicBezTo>
                    <a:cubicBezTo>
                      <a:pt x="733" y="306"/>
                      <a:pt x="739" y="309"/>
                      <a:pt x="746" y="309"/>
                    </a:cubicBezTo>
                    <a:cubicBezTo>
                      <a:pt x="751" y="309"/>
                      <a:pt x="756" y="307"/>
                      <a:pt x="760" y="304"/>
                    </a:cubicBezTo>
                    <a:close/>
                    <a:moveTo>
                      <a:pt x="1228" y="304"/>
                    </a:moveTo>
                    <a:cubicBezTo>
                      <a:pt x="1237" y="296"/>
                      <a:pt x="1238" y="282"/>
                      <a:pt x="1230" y="273"/>
                    </a:cubicBezTo>
                    <a:cubicBezTo>
                      <a:pt x="1189" y="223"/>
                      <a:pt x="1128" y="195"/>
                      <a:pt x="1063" y="195"/>
                    </a:cubicBezTo>
                    <a:cubicBezTo>
                      <a:pt x="998" y="195"/>
                      <a:pt x="937" y="223"/>
                      <a:pt x="896" y="273"/>
                    </a:cubicBezTo>
                    <a:cubicBezTo>
                      <a:pt x="888" y="282"/>
                      <a:pt x="889" y="296"/>
                      <a:pt x="898" y="304"/>
                    </a:cubicBezTo>
                    <a:cubicBezTo>
                      <a:pt x="908" y="312"/>
                      <a:pt x="921" y="310"/>
                      <a:pt x="929" y="301"/>
                    </a:cubicBezTo>
                    <a:cubicBezTo>
                      <a:pt x="963" y="262"/>
                      <a:pt x="1011" y="239"/>
                      <a:pt x="1063" y="239"/>
                    </a:cubicBezTo>
                    <a:cubicBezTo>
                      <a:pt x="1115" y="239"/>
                      <a:pt x="1163" y="262"/>
                      <a:pt x="1197" y="301"/>
                    </a:cubicBezTo>
                    <a:cubicBezTo>
                      <a:pt x="1201" y="306"/>
                      <a:pt x="1207" y="309"/>
                      <a:pt x="1214" y="309"/>
                    </a:cubicBezTo>
                    <a:cubicBezTo>
                      <a:pt x="1219" y="309"/>
                      <a:pt x="1224" y="307"/>
                      <a:pt x="1228" y="304"/>
                    </a:cubicBezTo>
                    <a:close/>
                    <a:moveTo>
                      <a:pt x="1696" y="304"/>
                    </a:moveTo>
                    <a:cubicBezTo>
                      <a:pt x="1705" y="296"/>
                      <a:pt x="1706" y="282"/>
                      <a:pt x="1699" y="273"/>
                    </a:cubicBezTo>
                    <a:cubicBezTo>
                      <a:pt x="1657" y="223"/>
                      <a:pt x="1596" y="195"/>
                      <a:pt x="1531" y="195"/>
                    </a:cubicBezTo>
                    <a:cubicBezTo>
                      <a:pt x="1466" y="195"/>
                      <a:pt x="1405" y="223"/>
                      <a:pt x="1364" y="273"/>
                    </a:cubicBezTo>
                    <a:cubicBezTo>
                      <a:pt x="1356" y="282"/>
                      <a:pt x="1357" y="296"/>
                      <a:pt x="1366" y="304"/>
                    </a:cubicBezTo>
                    <a:cubicBezTo>
                      <a:pt x="1376" y="312"/>
                      <a:pt x="1389" y="310"/>
                      <a:pt x="1397" y="301"/>
                    </a:cubicBezTo>
                    <a:cubicBezTo>
                      <a:pt x="1431" y="262"/>
                      <a:pt x="1479" y="239"/>
                      <a:pt x="1531" y="239"/>
                    </a:cubicBezTo>
                    <a:cubicBezTo>
                      <a:pt x="1583" y="239"/>
                      <a:pt x="1632" y="262"/>
                      <a:pt x="1665" y="301"/>
                    </a:cubicBezTo>
                    <a:cubicBezTo>
                      <a:pt x="1669" y="306"/>
                      <a:pt x="1675" y="309"/>
                      <a:pt x="1682" y="309"/>
                    </a:cubicBezTo>
                    <a:cubicBezTo>
                      <a:pt x="1687" y="309"/>
                      <a:pt x="1692" y="307"/>
                      <a:pt x="1696" y="304"/>
                    </a:cubicBezTo>
                    <a:close/>
                    <a:moveTo>
                      <a:pt x="994" y="109"/>
                    </a:moveTo>
                    <a:cubicBezTo>
                      <a:pt x="1003" y="101"/>
                      <a:pt x="1004" y="88"/>
                      <a:pt x="996" y="78"/>
                    </a:cubicBezTo>
                    <a:cubicBezTo>
                      <a:pt x="955" y="29"/>
                      <a:pt x="894" y="0"/>
                      <a:pt x="829" y="0"/>
                    </a:cubicBezTo>
                    <a:cubicBezTo>
                      <a:pt x="764" y="0"/>
                      <a:pt x="703" y="29"/>
                      <a:pt x="661" y="78"/>
                    </a:cubicBezTo>
                    <a:cubicBezTo>
                      <a:pt x="654" y="88"/>
                      <a:pt x="655" y="101"/>
                      <a:pt x="664" y="109"/>
                    </a:cubicBezTo>
                    <a:cubicBezTo>
                      <a:pt x="673" y="117"/>
                      <a:pt x="687" y="116"/>
                      <a:pt x="695" y="107"/>
                    </a:cubicBezTo>
                    <a:cubicBezTo>
                      <a:pt x="728" y="67"/>
                      <a:pt x="777" y="44"/>
                      <a:pt x="829" y="44"/>
                    </a:cubicBezTo>
                    <a:cubicBezTo>
                      <a:pt x="881" y="44"/>
                      <a:pt x="929" y="67"/>
                      <a:pt x="963" y="107"/>
                    </a:cubicBezTo>
                    <a:cubicBezTo>
                      <a:pt x="967" y="112"/>
                      <a:pt x="973" y="114"/>
                      <a:pt x="980" y="114"/>
                    </a:cubicBezTo>
                    <a:cubicBezTo>
                      <a:pt x="985" y="114"/>
                      <a:pt x="990" y="113"/>
                      <a:pt x="994" y="109"/>
                    </a:cubicBezTo>
                    <a:close/>
                    <a:moveTo>
                      <a:pt x="1462" y="109"/>
                    </a:moveTo>
                    <a:cubicBezTo>
                      <a:pt x="1471" y="101"/>
                      <a:pt x="1472" y="88"/>
                      <a:pt x="1465" y="78"/>
                    </a:cubicBezTo>
                    <a:cubicBezTo>
                      <a:pt x="1423" y="29"/>
                      <a:pt x="1362" y="0"/>
                      <a:pt x="1297" y="0"/>
                    </a:cubicBezTo>
                    <a:cubicBezTo>
                      <a:pt x="1232" y="0"/>
                      <a:pt x="1171" y="29"/>
                      <a:pt x="1130" y="78"/>
                    </a:cubicBezTo>
                    <a:cubicBezTo>
                      <a:pt x="1122" y="88"/>
                      <a:pt x="1123" y="101"/>
                      <a:pt x="1132" y="109"/>
                    </a:cubicBezTo>
                    <a:cubicBezTo>
                      <a:pt x="1142" y="117"/>
                      <a:pt x="1155" y="116"/>
                      <a:pt x="1163" y="107"/>
                    </a:cubicBezTo>
                    <a:cubicBezTo>
                      <a:pt x="1197" y="67"/>
                      <a:pt x="1245" y="44"/>
                      <a:pt x="1297" y="44"/>
                    </a:cubicBezTo>
                    <a:cubicBezTo>
                      <a:pt x="1349" y="44"/>
                      <a:pt x="1398" y="67"/>
                      <a:pt x="1431" y="107"/>
                    </a:cubicBezTo>
                    <a:cubicBezTo>
                      <a:pt x="1435" y="112"/>
                      <a:pt x="1441" y="114"/>
                      <a:pt x="1448" y="114"/>
                    </a:cubicBezTo>
                    <a:cubicBezTo>
                      <a:pt x="1453" y="114"/>
                      <a:pt x="1458" y="113"/>
                      <a:pt x="1462" y="109"/>
                    </a:cubicBezTo>
                    <a:close/>
                    <a:moveTo>
                      <a:pt x="2060" y="662"/>
                    </a:moveTo>
                    <a:cubicBezTo>
                      <a:pt x="2018" y="612"/>
                      <a:pt x="1957" y="584"/>
                      <a:pt x="1893" y="584"/>
                    </a:cubicBezTo>
                    <a:cubicBezTo>
                      <a:pt x="1839" y="584"/>
                      <a:pt x="1788" y="603"/>
                      <a:pt x="1749" y="638"/>
                    </a:cubicBezTo>
                    <a:cubicBezTo>
                      <a:pt x="1760" y="647"/>
                      <a:pt x="1771" y="657"/>
                      <a:pt x="1781" y="667"/>
                    </a:cubicBezTo>
                    <a:cubicBezTo>
                      <a:pt x="1781" y="667"/>
                      <a:pt x="1781" y="668"/>
                      <a:pt x="1781" y="668"/>
                    </a:cubicBezTo>
                    <a:cubicBezTo>
                      <a:pt x="1813" y="642"/>
                      <a:pt x="1852" y="628"/>
                      <a:pt x="1893" y="628"/>
                    </a:cubicBezTo>
                    <a:cubicBezTo>
                      <a:pt x="1944" y="628"/>
                      <a:pt x="1993" y="651"/>
                      <a:pt x="2026" y="690"/>
                    </a:cubicBezTo>
                    <a:cubicBezTo>
                      <a:pt x="2031" y="695"/>
                      <a:pt x="2037" y="698"/>
                      <a:pt x="2043" y="698"/>
                    </a:cubicBezTo>
                    <a:cubicBezTo>
                      <a:pt x="2048" y="698"/>
                      <a:pt x="2053" y="696"/>
                      <a:pt x="2057" y="693"/>
                    </a:cubicBezTo>
                    <a:cubicBezTo>
                      <a:pt x="2067" y="685"/>
                      <a:pt x="2068" y="671"/>
                      <a:pt x="2060" y="662"/>
                    </a:cubicBezTo>
                    <a:close/>
                    <a:moveTo>
                      <a:pt x="377" y="638"/>
                    </a:moveTo>
                    <a:cubicBezTo>
                      <a:pt x="338" y="603"/>
                      <a:pt x="287" y="584"/>
                      <a:pt x="233" y="584"/>
                    </a:cubicBezTo>
                    <a:cubicBezTo>
                      <a:pt x="169" y="584"/>
                      <a:pt x="108" y="612"/>
                      <a:pt x="66" y="662"/>
                    </a:cubicBezTo>
                    <a:cubicBezTo>
                      <a:pt x="58" y="671"/>
                      <a:pt x="59" y="685"/>
                      <a:pt x="69" y="693"/>
                    </a:cubicBezTo>
                    <a:cubicBezTo>
                      <a:pt x="78" y="701"/>
                      <a:pt x="92" y="699"/>
                      <a:pt x="100" y="690"/>
                    </a:cubicBezTo>
                    <a:cubicBezTo>
                      <a:pt x="133" y="651"/>
                      <a:pt x="182" y="628"/>
                      <a:pt x="233" y="628"/>
                    </a:cubicBezTo>
                    <a:cubicBezTo>
                      <a:pt x="274" y="628"/>
                      <a:pt x="313" y="642"/>
                      <a:pt x="344" y="667"/>
                    </a:cubicBezTo>
                    <a:cubicBezTo>
                      <a:pt x="355" y="657"/>
                      <a:pt x="366" y="647"/>
                      <a:pt x="377" y="638"/>
                    </a:cubicBezTo>
                    <a:close/>
                    <a:moveTo>
                      <a:pt x="2052" y="1567"/>
                    </a:moveTo>
                    <a:cubicBezTo>
                      <a:pt x="2030" y="1534"/>
                      <a:pt x="2004" y="1506"/>
                      <a:pt x="1974" y="1492"/>
                    </a:cubicBezTo>
                    <a:cubicBezTo>
                      <a:pt x="1885" y="1451"/>
                      <a:pt x="1720" y="1449"/>
                      <a:pt x="1720" y="1449"/>
                    </a:cubicBezTo>
                    <a:cubicBezTo>
                      <a:pt x="1720" y="1449"/>
                      <a:pt x="1614" y="1537"/>
                      <a:pt x="1533" y="1602"/>
                    </a:cubicBezTo>
                    <a:cubicBezTo>
                      <a:pt x="1530" y="1604"/>
                      <a:pt x="1527" y="1604"/>
                      <a:pt x="1524" y="1602"/>
                    </a:cubicBezTo>
                    <a:cubicBezTo>
                      <a:pt x="1464" y="1555"/>
                      <a:pt x="1337" y="1449"/>
                      <a:pt x="1337" y="1449"/>
                    </a:cubicBezTo>
                    <a:cubicBezTo>
                      <a:pt x="1337" y="1449"/>
                      <a:pt x="1197" y="1451"/>
                      <a:pt x="1105" y="1483"/>
                    </a:cubicBezTo>
                    <a:cubicBezTo>
                      <a:pt x="1123" y="1499"/>
                      <a:pt x="1139" y="1519"/>
                      <a:pt x="1155" y="1543"/>
                    </a:cubicBezTo>
                    <a:cubicBezTo>
                      <a:pt x="1208" y="1621"/>
                      <a:pt x="1235" y="1714"/>
                      <a:pt x="1235" y="1811"/>
                    </a:cubicBezTo>
                    <a:cubicBezTo>
                      <a:pt x="1235" y="1814"/>
                      <a:pt x="1235" y="1814"/>
                      <a:pt x="1235" y="1814"/>
                    </a:cubicBezTo>
                    <a:cubicBezTo>
                      <a:pt x="1235" y="1821"/>
                      <a:pt x="1234" y="1829"/>
                      <a:pt x="1231" y="1836"/>
                    </a:cubicBezTo>
                    <a:cubicBezTo>
                      <a:pt x="2102" y="1836"/>
                      <a:pt x="2102" y="1836"/>
                      <a:pt x="2102" y="1836"/>
                    </a:cubicBezTo>
                    <a:cubicBezTo>
                      <a:pt x="2114" y="1836"/>
                      <a:pt x="2124" y="1826"/>
                      <a:pt x="2124" y="1814"/>
                    </a:cubicBezTo>
                    <a:cubicBezTo>
                      <a:pt x="2124" y="1811"/>
                      <a:pt x="2124" y="1811"/>
                      <a:pt x="2124" y="1811"/>
                    </a:cubicBezTo>
                    <a:cubicBezTo>
                      <a:pt x="2124" y="1724"/>
                      <a:pt x="2100" y="1639"/>
                      <a:pt x="2052" y="1567"/>
                    </a:cubicBezTo>
                    <a:close/>
                    <a:moveTo>
                      <a:pt x="1191" y="1811"/>
                    </a:moveTo>
                    <a:cubicBezTo>
                      <a:pt x="1191" y="1724"/>
                      <a:pt x="1167" y="1639"/>
                      <a:pt x="1119" y="1567"/>
                    </a:cubicBezTo>
                    <a:cubicBezTo>
                      <a:pt x="1097" y="1534"/>
                      <a:pt x="1071" y="1506"/>
                      <a:pt x="1042" y="1492"/>
                    </a:cubicBezTo>
                    <a:cubicBezTo>
                      <a:pt x="952" y="1451"/>
                      <a:pt x="787" y="1449"/>
                      <a:pt x="787" y="1449"/>
                    </a:cubicBezTo>
                    <a:cubicBezTo>
                      <a:pt x="787" y="1449"/>
                      <a:pt x="787" y="1449"/>
                      <a:pt x="787" y="1449"/>
                    </a:cubicBezTo>
                    <a:cubicBezTo>
                      <a:pt x="787" y="1449"/>
                      <a:pt x="722" y="1541"/>
                      <a:pt x="592" y="1541"/>
                    </a:cubicBezTo>
                    <a:cubicBezTo>
                      <a:pt x="599" y="1541"/>
                      <a:pt x="599" y="1541"/>
                      <a:pt x="599" y="1541"/>
                    </a:cubicBezTo>
                    <a:cubicBezTo>
                      <a:pt x="469" y="1541"/>
                      <a:pt x="404" y="1449"/>
                      <a:pt x="404" y="1449"/>
                    </a:cubicBezTo>
                    <a:cubicBezTo>
                      <a:pt x="404" y="1449"/>
                      <a:pt x="404" y="1449"/>
                      <a:pt x="404" y="1449"/>
                    </a:cubicBezTo>
                    <a:cubicBezTo>
                      <a:pt x="404" y="1449"/>
                      <a:pt x="239" y="1451"/>
                      <a:pt x="150" y="1492"/>
                    </a:cubicBezTo>
                    <a:cubicBezTo>
                      <a:pt x="120" y="1506"/>
                      <a:pt x="94" y="1534"/>
                      <a:pt x="72" y="1567"/>
                    </a:cubicBezTo>
                    <a:cubicBezTo>
                      <a:pt x="24" y="1639"/>
                      <a:pt x="0" y="1724"/>
                      <a:pt x="0" y="1811"/>
                    </a:cubicBezTo>
                    <a:cubicBezTo>
                      <a:pt x="0" y="1814"/>
                      <a:pt x="0" y="1814"/>
                      <a:pt x="0" y="1814"/>
                    </a:cubicBezTo>
                    <a:cubicBezTo>
                      <a:pt x="0" y="1826"/>
                      <a:pt x="10" y="1836"/>
                      <a:pt x="22" y="1836"/>
                    </a:cubicBezTo>
                    <a:cubicBezTo>
                      <a:pt x="1169" y="1836"/>
                      <a:pt x="1169" y="1836"/>
                      <a:pt x="1169" y="1836"/>
                    </a:cubicBezTo>
                    <a:cubicBezTo>
                      <a:pt x="1181" y="1836"/>
                      <a:pt x="1191" y="1826"/>
                      <a:pt x="1191" y="1814"/>
                    </a:cubicBezTo>
                    <a:lnTo>
                      <a:pt x="1191" y="1811"/>
                    </a:lnTo>
                    <a:close/>
                    <a:moveTo>
                      <a:pt x="1228" y="693"/>
                    </a:moveTo>
                    <a:cubicBezTo>
                      <a:pt x="1237" y="685"/>
                      <a:pt x="1238" y="671"/>
                      <a:pt x="1230" y="662"/>
                    </a:cubicBezTo>
                    <a:cubicBezTo>
                      <a:pt x="1189" y="612"/>
                      <a:pt x="1128" y="584"/>
                      <a:pt x="1063" y="584"/>
                    </a:cubicBezTo>
                    <a:cubicBezTo>
                      <a:pt x="998" y="584"/>
                      <a:pt x="937" y="612"/>
                      <a:pt x="896" y="662"/>
                    </a:cubicBezTo>
                    <a:cubicBezTo>
                      <a:pt x="888" y="671"/>
                      <a:pt x="889" y="685"/>
                      <a:pt x="898" y="693"/>
                    </a:cubicBezTo>
                    <a:cubicBezTo>
                      <a:pt x="908" y="701"/>
                      <a:pt x="921" y="699"/>
                      <a:pt x="929" y="690"/>
                    </a:cubicBezTo>
                    <a:cubicBezTo>
                      <a:pt x="963" y="651"/>
                      <a:pt x="1011" y="628"/>
                      <a:pt x="1063" y="628"/>
                    </a:cubicBezTo>
                    <a:cubicBezTo>
                      <a:pt x="1115" y="628"/>
                      <a:pt x="1163" y="651"/>
                      <a:pt x="1197" y="690"/>
                    </a:cubicBezTo>
                    <a:cubicBezTo>
                      <a:pt x="1201" y="695"/>
                      <a:pt x="1207" y="698"/>
                      <a:pt x="1214" y="698"/>
                    </a:cubicBezTo>
                    <a:cubicBezTo>
                      <a:pt x="1219" y="698"/>
                      <a:pt x="1224" y="696"/>
                      <a:pt x="1228" y="693"/>
                    </a:cubicBezTo>
                    <a:close/>
                    <a:moveTo>
                      <a:pt x="1255" y="1157"/>
                    </a:moveTo>
                    <a:cubicBezTo>
                      <a:pt x="1275" y="1207"/>
                      <a:pt x="1328" y="1336"/>
                      <a:pt x="1356" y="1362"/>
                    </a:cubicBezTo>
                    <a:cubicBezTo>
                      <a:pt x="1358" y="1363"/>
                      <a:pt x="1361" y="1365"/>
                      <a:pt x="1363" y="1367"/>
                    </a:cubicBezTo>
                    <a:cubicBezTo>
                      <a:pt x="1363" y="1414"/>
                      <a:pt x="1363" y="1414"/>
                      <a:pt x="1363" y="1414"/>
                    </a:cubicBezTo>
                    <a:cubicBezTo>
                      <a:pt x="1365" y="1415"/>
                      <a:pt x="1365" y="1415"/>
                      <a:pt x="1365" y="1415"/>
                    </a:cubicBezTo>
                    <a:cubicBezTo>
                      <a:pt x="1365" y="1416"/>
                      <a:pt x="1383" y="1430"/>
                      <a:pt x="1407" y="1450"/>
                    </a:cubicBezTo>
                    <a:cubicBezTo>
                      <a:pt x="1407" y="1399"/>
                      <a:pt x="1407" y="1399"/>
                      <a:pt x="1407" y="1399"/>
                    </a:cubicBezTo>
                    <a:cubicBezTo>
                      <a:pt x="1444" y="1422"/>
                      <a:pt x="1492" y="1445"/>
                      <a:pt x="1528" y="1445"/>
                    </a:cubicBezTo>
                    <a:cubicBezTo>
                      <a:pt x="1565" y="1445"/>
                      <a:pt x="1613" y="1422"/>
                      <a:pt x="1649" y="1399"/>
                    </a:cubicBezTo>
                    <a:cubicBezTo>
                      <a:pt x="1649" y="1450"/>
                      <a:pt x="1649" y="1450"/>
                      <a:pt x="1649" y="1450"/>
                    </a:cubicBezTo>
                    <a:cubicBezTo>
                      <a:pt x="1675" y="1430"/>
                      <a:pt x="1692" y="1415"/>
                      <a:pt x="1692" y="1415"/>
                    </a:cubicBezTo>
                    <a:cubicBezTo>
                      <a:pt x="1693" y="1414"/>
                      <a:pt x="1693" y="1414"/>
                      <a:pt x="1693" y="1414"/>
                    </a:cubicBezTo>
                    <a:cubicBezTo>
                      <a:pt x="1693" y="1368"/>
                      <a:pt x="1693" y="1368"/>
                      <a:pt x="1693" y="1368"/>
                    </a:cubicBezTo>
                    <a:cubicBezTo>
                      <a:pt x="1696" y="1365"/>
                      <a:pt x="1699" y="1363"/>
                      <a:pt x="1701" y="1362"/>
                    </a:cubicBezTo>
                    <a:cubicBezTo>
                      <a:pt x="1729" y="1336"/>
                      <a:pt x="1782" y="1207"/>
                      <a:pt x="1802" y="1157"/>
                    </a:cubicBezTo>
                    <a:cubicBezTo>
                      <a:pt x="1837" y="1135"/>
                      <a:pt x="1846" y="1097"/>
                      <a:pt x="1849" y="1081"/>
                    </a:cubicBezTo>
                    <a:cubicBezTo>
                      <a:pt x="1849" y="1079"/>
                      <a:pt x="1849" y="1078"/>
                      <a:pt x="1849" y="1076"/>
                    </a:cubicBezTo>
                    <a:cubicBezTo>
                      <a:pt x="1796" y="1101"/>
                      <a:pt x="1796" y="1101"/>
                      <a:pt x="1796" y="1101"/>
                    </a:cubicBezTo>
                    <a:cubicBezTo>
                      <a:pt x="1791" y="1109"/>
                      <a:pt x="1784" y="1117"/>
                      <a:pt x="1774" y="1122"/>
                    </a:cubicBezTo>
                    <a:cubicBezTo>
                      <a:pt x="1769" y="1124"/>
                      <a:pt x="1766" y="1129"/>
                      <a:pt x="1764" y="1134"/>
                    </a:cubicBezTo>
                    <a:cubicBezTo>
                      <a:pt x="1731" y="1217"/>
                      <a:pt x="1687" y="1315"/>
                      <a:pt x="1671" y="1329"/>
                    </a:cubicBezTo>
                    <a:cubicBezTo>
                      <a:pt x="1644" y="1353"/>
                      <a:pt x="1568" y="1401"/>
                      <a:pt x="1528" y="1401"/>
                    </a:cubicBezTo>
                    <a:cubicBezTo>
                      <a:pt x="1489" y="1401"/>
                      <a:pt x="1413" y="1353"/>
                      <a:pt x="1385" y="1329"/>
                    </a:cubicBezTo>
                    <a:cubicBezTo>
                      <a:pt x="1370" y="1315"/>
                      <a:pt x="1326" y="1217"/>
                      <a:pt x="1293" y="1134"/>
                    </a:cubicBezTo>
                    <a:cubicBezTo>
                      <a:pt x="1291" y="1129"/>
                      <a:pt x="1287" y="1124"/>
                      <a:pt x="1283" y="1122"/>
                    </a:cubicBezTo>
                    <a:cubicBezTo>
                      <a:pt x="1273" y="1117"/>
                      <a:pt x="1266" y="1109"/>
                      <a:pt x="1261" y="1101"/>
                    </a:cubicBezTo>
                    <a:cubicBezTo>
                      <a:pt x="1208" y="1076"/>
                      <a:pt x="1208" y="1076"/>
                      <a:pt x="1208" y="1076"/>
                    </a:cubicBezTo>
                    <a:cubicBezTo>
                      <a:pt x="1208" y="1078"/>
                      <a:pt x="1208" y="1080"/>
                      <a:pt x="1208" y="1083"/>
                    </a:cubicBezTo>
                    <a:cubicBezTo>
                      <a:pt x="1212" y="1102"/>
                      <a:pt x="1222" y="1136"/>
                      <a:pt x="1255" y="1157"/>
                    </a:cubicBezTo>
                    <a:close/>
                    <a:moveTo>
                      <a:pt x="322" y="1157"/>
                    </a:moveTo>
                    <a:cubicBezTo>
                      <a:pt x="342" y="1207"/>
                      <a:pt x="395" y="1336"/>
                      <a:pt x="423" y="1362"/>
                    </a:cubicBezTo>
                    <a:cubicBezTo>
                      <a:pt x="425" y="1363"/>
                      <a:pt x="428" y="1365"/>
                      <a:pt x="431" y="1368"/>
                    </a:cubicBezTo>
                    <a:cubicBezTo>
                      <a:pt x="431" y="1411"/>
                      <a:pt x="431" y="1411"/>
                      <a:pt x="431" y="1411"/>
                    </a:cubicBezTo>
                    <a:cubicBezTo>
                      <a:pt x="440" y="1423"/>
                      <a:pt x="440" y="1423"/>
                      <a:pt x="440" y="1423"/>
                    </a:cubicBezTo>
                    <a:cubicBezTo>
                      <a:pt x="441" y="1425"/>
                      <a:pt x="452" y="1440"/>
                      <a:pt x="475" y="1457"/>
                    </a:cubicBezTo>
                    <a:cubicBezTo>
                      <a:pt x="475" y="1399"/>
                      <a:pt x="475" y="1399"/>
                      <a:pt x="475" y="1399"/>
                    </a:cubicBezTo>
                    <a:cubicBezTo>
                      <a:pt x="511" y="1422"/>
                      <a:pt x="559" y="1445"/>
                      <a:pt x="595" y="1445"/>
                    </a:cubicBezTo>
                    <a:cubicBezTo>
                      <a:pt x="632" y="1445"/>
                      <a:pt x="680" y="1422"/>
                      <a:pt x="717" y="1399"/>
                    </a:cubicBezTo>
                    <a:cubicBezTo>
                      <a:pt x="717" y="1457"/>
                      <a:pt x="717" y="1457"/>
                      <a:pt x="717" y="1457"/>
                    </a:cubicBezTo>
                    <a:cubicBezTo>
                      <a:pt x="740" y="1440"/>
                      <a:pt x="751" y="1424"/>
                      <a:pt x="751" y="1423"/>
                    </a:cubicBezTo>
                    <a:cubicBezTo>
                      <a:pt x="761" y="1411"/>
                      <a:pt x="761" y="1411"/>
                      <a:pt x="761" y="1411"/>
                    </a:cubicBezTo>
                    <a:cubicBezTo>
                      <a:pt x="761" y="1367"/>
                      <a:pt x="761" y="1367"/>
                      <a:pt x="761" y="1367"/>
                    </a:cubicBezTo>
                    <a:cubicBezTo>
                      <a:pt x="763" y="1365"/>
                      <a:pt x="766" y="1363"/>
                      <a:pt x="768" y="1362"/>
                    </a:cubicBezTo>
                    <a:cubicBezTo>
                      <a:pt x="796" y="1336"/>
                      <a:pt x="849" y="1207"/>
                      <a:pt x="869" y="1157"/>
                    </a:cubicBezTo>
                    <a:cubicBezTo>
                      <a:pt x="904" y="1135"/>
                      <a:pt x="913" y="1097"/>
                      <a:pt x="916" y="1081"/>
                    </a:cubicBezTo>
                    <a:cubicBezTo>
                      <a:pt x="916" y="1079"/>
                      <a:pt x="916" y="1078"/>
                      <a:pt x="916" y="1076"/>
                    </a:cubicBezTo>
                    <a:cubicBezTo>
                      <a:pt x="863" y="1101"/>
                      <a:pt x="863" y="1101"/>
                      <a:pt x="863" y="1101"/>
                    </a:cubicBezTo>
                    <a:cubicBezTo>
                      <a:pt x="858" y="1109"/>
                      <a:pt x="851" y="1117"/>
                      <a:pt x="841" y="1122"/>
                    </a:cubicBezTo>
                    <a:cubicBezTo>
                      <a:pt x="836" y="1124"/>
                      <a:pt x="833" y="1129"/>
                      <a:pt x="831" y="1134"/>
                    </a:cubicBezTo>
                    <a:cubicBezTo>
                      <a:pt x="798" y="1217"/>
                      <a:pt x="754" y="1315"/>
                      <a:pt x="738" y="1329"/>
                    </a:cubicBezTo>
                    <a:cubicBezTo>
                      <a:pt x="711" y="1353"/>
                      <a:pt x="635" y="1401"/>
                      <a:pt x="595" y="1401"/>
                    </a:cubicBezTo>
                    <a:cubicBezTo>
                      <a:pt x="556" y="1401"/>
                      <a:pt x="480" y="1353"/>
                      <a:pt x="452" y="1329"/>
                    </a:cubicBezTo>
                    <a:cubicBezTo>
                      <a:pt x="437" y="1315"/>
                      <a:pt x="393" y="1217"/>
                      <a:pt x="360" y="1134"/>
                    </a:cubicBezTo>
                    <a:cubicBezTo>
                      <a:pt x="358" y="1129"/>
                      <a:pt x="354" y="1124"/>
                      <a:pt x="350" y="1122"/>
                    </a:cubicBezTo>
                    <a:cubicBezTo>
                      <a:pt x="339" y="1117"/>
                      <a:pt x="333" y="1109"/>
                      <a:pt x="328" y="1101"/>
                    </a:cubicBezTo>
                    <a:cubicBezTo>
                      <a:pt x="275" y="1076"/>
                      <a:pt x="275" y="1076"/>
                      <a:pt x="275" y="1076"/>
                    </a:cubicBezTo>
                    <a:cubicBezTo>
                      <a:pt x="275" y="1078"/>
                      <a:pt x="275" y="1080"/>
                      <a:pt x="275" y="1083"/>
                    </a:cubicBezTo>
                    <a:cubicBezTo>
                      <a:pt x="279" y="1102"/>
                      <a:pt x="289" y="1136"/>
                      <a:pt x="322" y="1157"/>
                    </a:cubicBezTo>
                    <a:close/>
                  </a:path>
                </a:pathLst>
              </a:custGeom>
              <a:solidFill>
                <a:srgbClr val="283B85">
                  <a:lumMod val="10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65" tIns="34332" rIns="68665" bIns="343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7" name="Freeform 21">
                <a:extLst>
                  <a:ext uri="{FF2B5EF4-FFF2-40B4-BE49-F238E27FC236}">
                    <a16:creationId xmlns:a16="http://schemas.microsoft.com/office/drawing/2014/main" id="{9A32768F-1F7B-41E4-AD1E-05F5E20985B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40884" y="3203448"/>
                <a:ext cx="1150239" cy="575691"/>
              </a:xfrm>
              <a:custGeom>
                <a:avLst/>
                <a:gdLst>
                  <a:gd name="T0" fmla="*/ 1542 w 1612"/>
                  <a:gd name="T1" fmla="*/ 422 h 806"/>
                  <a:gd name="T2" fmla="*/ 1542 w 1612"/>
                  <a:gd name="T3" fmla="*/ 421 h 806"/>
                  <a:gd name="T4" fmla="*/ 1508 w 1612"/>
                  <a:gd name="T5" fmla="*/ 469 h 806"/>
                  <a:gd name="T6" fmla="*/ 1505 w 1612"/>
                  <a:gd name="T7" fmla="*/ 470 h 806"/>
                  <a:gd name="T8" fmla="*/ 1485 w 1612"/>
                  <a:gd name="T9" fmla="*/ 470 h 806"/>
                  <a:gd name="T10" fmla="*/ 1483 w 1612"/>
                  <a:gd name="T11" fmla="*/ 470 h 806"/>
                  <a:gd name="T12" fmla="*/ 1074 w 1612"/>
                  <a:gd name="T13" fmla="*/ 253 h 806"/>
                  <a:gd name="T14" fmla="*/ 1070 w 1612"/>
                  <a:gd name="T15" fmla="*/ 253 h 806"/>
                  <a:gd name="T16" fmla="*/ 949 w 1612"/>
                  <a:gd name="T17" fmla="*/ 445 h 806"/>
                  <a:gd name="T18" fmla="*/ 949 w 1612"/>
                  <a:gd name="T19" fmla="*/ 444 h 806"/>
                  <a:gd name="T20" fmla="*/ 932 w 1612"/>
                  <a:gd name="T21" fmla="*/ 315 h 806"/>
                  <a:gd name="T22" fmla="*/ 1242 w 1612"/>
                  <a:gd name="T23" fmla="*/ 0 h 806"/>
                  <a:gd name="T24" fmla="*/ 1553 w 1612"/>
                  <a:gd name="T25" fmla="*/ 315 h 806"/>
                  <a:gd name="T26" fmla="*/ 1542 w 1612"/>
                  <a:gd name="T27" fmla="*/ 422 h 806"/>
                  <a:gd name="T28" fmla="*/ 619 w 1612"/>
                  <a:gd name="T29" fmla="*/ 317 h 806"/>
                  <a:gd name="T30" fmla="*/ 310 w 1612"/>
                  <a:gd name="T31" fmla="*/ 0 h 806"/>
                  <a:gd name="T32" fmla="*/ 0 w 1612"/>
                  <a:gd name="T33" fmla="*/ 317 h 806"/>
                  <a:gd name="T34" fmla="*/ 12 w 1612"/>
                  <a:gd name="T35" fmla="*/ 427 h 806"/>
                  <a:gd name="T36" fmla="*/ 12 w 1612"/>
                  <a:gd name="T37" fmla="*/ 428 h 806"/>
                  <a:gd name="T38" fmla="*/ 43 w 1612"/>
                  <a:gd name="T39" fmla="*/ 467 h 806"/>
                  <a:gd name="T40" fmla="*/ 64 w 1612"/>
                  <a:gd name="T41" fmla="*/ 469 h 806"/>
                  <a:gd name="T42" fmla="*/ 140 w 1612"/>
                  <a:gd name="T43" fmla="*/ 254 h 806"/>
                  <a:gd name="T44" fmla="*/ 547 w 1612"/>
                  <a:gd name="T45" fmla="*/ 240 h 806"/>
                  <a:gd name="T46" fmla="*/ 550 w 1612"/>
                  <a:gd name="T47" fmla="*/ 473 h 806"/>
                  <a:gd name="T48" fmla="*/ 573 w 1612"/>
                  <a:gd name="T49" fmla="*/ 473 h 806"/>
                  <a:gd name="T50" fmla="*/ 608 w 1612"/>
                  <a:gd name="T51" fmla="*/ 424 h 806"/>
                  <a:gd name="T52" fmla="*/ 608 w 1612"/>
                  <a:gd name="T53" fmla="*/ 424 h 806"/>
                  <a:gd name="T54" fmla="*/ 619 w 1612"/>
                  <a:gd name="T55" fmla="*/ 317 h 806"/>
                  <a:gd name="T56" fmla="*/ 1033 w 1612"/>
                  <a:gd name="T57" fmla="*/ 780 h 806"/>
                  <a:gd name="T58" fmla="*/ 946 w 1612"/>
                  <a:gd name="T59" fmla="*/ 612 h 806"/>
                  <a:gd name="T60" fmla="*/ 872 w 1612"/>
                  <a:gd name="T61" fmla="*/ 756 h 806"/>
                  <a:gd name="T62" fmla="*/ 949 w 1612"/>
                  <a:gd name="T63" fmla="*/ 806 h 806"/>
                  <a:gd name="T64" fmla="*/ 1033 w 1612"/>
                  <a:gd name="T65" fmla="*/ 799 h 806"/>
                  <a:gd name="T66" fmla="*/ 1033 w 1612"/>
                  <a:gd name="T67" fmla="*/ 780 h 806"/>
                  <a:gd name="T68" fmla="*/ 1538 w 1612"/>
                  <a:gd name="T69" fmla="*/ 613 h 806"/>
                  <a:gd name="T70" fmla="*/ 1451 w 1612"/>
                  <a:gd name="T71" fmla="*/ 781 h 806"/>
                  <a:gd name="T72" fmla="*/ 1451 w 1612"/>
                  <a:gd name="T73" fmla="*/ 799 h 806"/>
                  <a:gd name="T74" fmla="*/ 1536 w 1612"/>
                  <a:gd name="T75" fmla="*/ 806 h 806"/>
                  <a:gd name="T76" fmla="*/ 1612 w 1612"/>
                  <a:gd name="T77" fmla="*/ 756 h 806"/>
                  <a:gd name="T78" fmla="*/ 1538 w 1612"/>
                  <a:gd name="T79" fmla="*/ 613 h 8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612" h="806">
                    <a:moveTo>
                      <a:pt x="1542" y="422"/>
                    </a:moveTo>
                    <a:cubicBezTo>
                      <a:pt x="1542" y="422"/>
                      <a:pt x="1542" y="421"/>
                      <a:pt x="1542" y="421"/>
                    </a:cubicBezTo>
                    <a:cubicBezTo>
                      <a:pt x="1541" y="422"/>
                      <a:pt x="1536" y="437"/>
                      <a:pt x="1508" y="469"/>
                    </a:cubicBezTo>
                    <a:cubicBezTo>
                      <a:pt x="1507" y="470"/>
                      <a:pt x="1506" y="470"/>
                      <a:pt x="1505" y="470"/>
                    </a:cubicBezTo>
                    <a:cubicBezTo>
                      <a:pt x="1485" y="470"/>
                      <a:pt x="1485" y="470"/>
                      <a:pt x="1485" y="470"/>
                    </a:cubicBezTo>
                    <a:cubicBezTo>
                      <a:pt x="1484" y="470"/>
                      <a:pt x="1484" y="470"/>
                      <a:pt x="1483" y="470"/>
                    </a:cubicBezTo>
                    <a:cubicBezTo>
                      <a:pt x="1074" y="253"/>
                      <a:pt x="1074" y="253"/>
                      <a:pt x="1074" y="253"/>
                    </a:cubicBezTo>
                    <a:cubicBezTo>
                      <a:pt x="1073" y="253"/>
                      <a:pt x="1071" y="253"/>
                      <a:pt x="1070" y="253"/>
                    </a:cubicBezTo>
                    <a:cubicBezTo>
                      <a:pt x="979" y="283"/>
                      <a:pt x="980" y="472"/>
                      <a:pt x="949" y="445"/>
                    </a:cubicBezTo>
                    <a:cubicBezTo>
                      <a:pt x="949" y="444"/>
                      <a:pt x="949" y="444"/>
                      <a:pt x="949" y="444"/>
                    </a:cubicBezTo>
                    <a:cubicBezTo>
                      <a:pt x="936" y="410"/>
                      <a:pt x="932" y="354"/>
                      <a:pt x="932" y="315"/>
                    </a:cubicBezTo>
                    <a:cubicBezTo>
                      <a:pt x="932" y="141"/>
                      <a:pt x="1067" y="0"/>
                      <a:pt x="1242" y="0"/>
                    </a:cubicBezTo>
                    <a:cubicBezTo>
                      <a:pt x="1418" y="0"/>
                      <a:pt x="1553" y="141"/>
                      <a:pt x="1553" y="315"/>
                    </a:cubicBezTo>
                    <a:cubicBezTo>
                      <a:pt x="1553" y="353"/>
                      <a:pt x="1554" y="389"/>
                      <a:pt x="1542" y="422"/>
                    </a:cubicBezTo>
                    <a:close/>
                    <a:moveTo>
                      <a:pt x="619" y="317"/>
                    </a:moveTo>
                    <a:cubicBezTo>
                      <a:pt x="619" y="142"/>
                      <a:pt x="485" y="0"/>
                      <a:pt x="310" y="0"/>
                    </a:cubicBezTo>
                    <a:cubicBezTo>
                      <a:pt x="134" y="0"/>
                      <a:pt x="0" y="142"/>
                      <a:pt x="0" y="317"/>
                    </a:cubicBezTo>
                    <a:cubicBezTo>
                      <a:pt x="0" y="356"/>
                      <a:pt x="0" y="393"/>
                      <a:pt x="12" y="427"/>
                    </a:cubicBezTo>
                    <a:cubicBezTo>
                      <a:pt x="12" y="428"/>
                      <a:pt x="12" y="428"/>
                      <a:pt x="12" y="428"/>
                    </a:cubicBezTo>
                    <a:cubicBezTo>
                      <a:pt x="43" y="456"/>
                      <a:pt x="43" y="467"/>
                      <a:pt x="43" y="467"/>
                    </a:cubicBezTo>
                    <a:cubicBezTo>
                      <a:pt x="64" y="469"/>
                      <a:pt x="64" y="469"/>
                      <a:pt x="64" y="469"/>
                    </a:cubicBezTo>
                    <a:cubicBezTo>
                      <a:pt x="64" y="469"/>
                      <a:pt x="47" y="283"/>
                      <a:pt x="140" y="254"/>
                    </a:cubicBezTo>
                    <a:cubicBezTo>
                      <a:pt x="140" y="254"/>
                      <a:pt x="512" y="418"/>
                      <a:pt x="547" y="240"/>
                    </a:cubicBezTo>
                    <a:cubicBezTo>
                      <a:pt x="550" y="462"/>
                      <a:pt x="550" y="473"/>
                      <a:pt x="550" y="473"/>
                    </a:cubicBezTo>
                    <a:cubicBezTo>
                      <a:pt x="573" y="473"/>
                      <a:pt x="573" y="473"/>
                      <a:pt x="573" y="473"/>
                    </a:cubicBezTo>
                    <a:cubicBezTo>
                      <a:pt x="602" y="440"/>
                      <a:pt x="607" y="424"/>
                      <a:pt x="608" y="424"/>
                    </a:cubicBezTo>
                    <a:cubicBezTo>
                      <a:pt x="608" y="424"/>
                      <a:pt x="608" y="424"/>
                      <a:pt x="608" y="424"/>
                    </a:cubicBezTo>
                    <a:cubicBezTo>
                      <a:pt x="620" y="391"/>
                      <a:pt x="619" y="355"/>
                      <a:pt x="619" y="317"/>
                    </a:cubicBezTo>
                    <a:close/>
                    <a:moveTo>
                      <a:pt x="1033" y="780"/>
                    </a:moveTo>
                    <a:cubicBezTo>
                      <a:pt x="1011" y="755"/>
                      <a:pt x="982" y="699"/>
                      <a:pt x="946" y="612"/>
                    </a:cubicBezTo>
                    <a:cubicBezTo>
                      <a:pt x="943" y="671"/>
                      <a:pt x="933" y="750"/>
                      <a:pt x="872" y="756"/>
                    </a:cubicBezTo>
                    <a:cubicBezTo>
                      <a:pt x="899" y="783"/>
                      <a:pt x="925" y="798"/>
                      <a:pt x="949" y="806"/>
                    </a:cubicBezTo>
                    <a:cubicBezTo>
                      <a:pt x="984" y="802"/>
                      <a:pt x="1015" y="800"/>
                      <a:pt x="1033" y="799"/>
                    </a:cubicBezTo>
                    <a:lnTo>
                      <a:pt x="1033" y="780"/>
                    </a:lnTo>
                    <a:close/>
                    <a:moveTo>
                      <a:pt x="1538" y="613"/>
                    </a:moveTo>
                    <a:cubicBezTo>
                      <a:pt x="1502" y="699"/>
                      <a:pt x="1473" y="755"/>
                      <a:pt x="1451" y="781"/>
                    </a:cubicBezTo>
                    <a:cubicBezTo>
                      <a:pt x="1451" y="799"/>
                      <a:pt x="1451" y="799"/>
                      <a:pt x="1451" y="799"/>
                    </a:cubicBezTo>
                    <a:cubicBezTo>
                      <a:pt x="1469" y="800"/>
                      <a:pt x="1501" y="802"/>
                      <a:pt x="1536" y="806"/>
                    </a:cubicBezTo>
                    <a:cubicBezTo>
                      <a:pt x="1560" y="798"/>
                      <a:pt x="1586" y="783"/>
                      <a:pt x="1612" y="756"/>
                    </a:cubicBezTo>
                    <a:cubicBezTo>
                      <a:pt x="1552" y="750"/>
                      <a:pt x="1542" y="672"/>
                      <a:pt x="1538" y="613"/>
                    </a:cubicBezTo>
                    <a:close/>
                  </a:path>
                </a:pathLst>
              </a:custGeom>
              <a:solidFill>
                <a:srgbClr val="5D78D1">
                  <a:lumMod val="100000"/>
                </a:srgbClr>
              </a:solidFill>
              <a:ln>
                <a:noFill/>
              </a:ln>
            </p:spPr>
            <p:txBody>
              <a:bodyPr vert="horz" wrap="square" lIns="68665" tIns="34332" rIns="68665" bIns="343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88" name="object 35"/>
          <p:cNvSpPr/>
          <p:nvPr/>
        </p:nvSpPr>
        <p:spPr>
          <a:xfrm>
            <a:off x="2676329" y="3640034"/>
            <a:ext cx="486845" cy="230224"/>
          </a:xfrm>
          <a:custGeom>
            <a:avLst/>
            <a:gdLst/>
            <a:ahLst/>
            <a:cxnLst/>
            <a:rect l="l" t="t" r="r" b="b"/>
            <a:pathLst>
              <a:path w="1153795" h="725804">
                <a:moveTo>
                  <a:pt x="790955" y="0"/>
                </a:moveTo>
                <a:lnTo>
                  <a:pt x="790955" y="181356"/>
                </a:lnTo>
                <a:lnTo>
                  <a:pt x="0" y="181356"/>
                </a:lnTo>
                <a:lnTo>
                  <a:pt x="0" y="544068"/>
                </a:lnTo>
                <a:lnTo>
                  <a:pt x="790955" y="544068"/>
                </a:lnTo>
                <a:lnTo>
                  <a:pt x="790955" y="725424"/>
                </a:lnTo>
                <a:lnTo>
                  <a:pt x="1153667" y="362712"/>
                </a:lnTo>
                <a:lnTo>
                  <a:pt x="790955" y="0"/>
                </a:lnTo>
                <a:close/>
              </a:path>
            </a:pathLst>
          </a:custGeom>
          <a:solidFill>
            <a:srgbClr val="C0504D">
              <a:lumMod val="60000"/>
              <a:lumOff val="40000"/>
              <a:alpha val="44000"/>
            </a:srgbClr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54227" y="3236561"/>
            <a:ext cx="704843" cy="3889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0" name="Group 45"/>
          <p:cNvGrpSpPr>
            <a:grpSpLocks noChangeAspect="1"/>
          </p:cNvGrpSpPr>
          <p:nvPr/>
        </p:nvGrpSpPr>
        <p:grpSpPr>
          <a:xfrm>
            <a:off x="3587824" y="3635295"/>
            <a:ext cx="636725" cy="724392"/>
            <a:chOff x="3176588" y="2584450"/>
            <a:chExt cx="1646237" cy="1646238"/>
          </a:xfrm>
        </p:grpSpPr>
        <p:sp>
          <p:nvSpPr>
            <p:cNvPr id="106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76588" y="2584450"/>
              <a:ext cx="1646237" cy="16462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665" tIns="34332" rIns="68665" bIns="34332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07" name="Group 47"/>
            <p:cNvGrpSpPr/>
            <p:nvPr/>
          </p:nvGrpSpPr>
          <p:grpSpPr>
            <a:xfrm>
              <a:off x="3357032" y="2752725"/>
              <a:ext cx="1283761" cy="1230313"/>
              <a:chOff x="3357032" y="2752725"/>
              <a:chExt cx="1283761" cy="1230313"/>
            </a:xfrm>
          </p:grpSpPr>
          <p:sp>
            <p:nvSpPr>
              <p:cNvPr id="108" name="Freeform 48"/>
              <p:cNvSpPr>
                <a:spLocks/>
              </p:cNvSpPr>
              <p:nvPr/>
            </p:nvSpPr>
            <p:spPr bwMode="auto">
              <a:xfrm>
                <a:off x="3357032" y="3175000"/>
                <a:ext cx="1283761" cy="808038"/>
              </a:xfrm>
              <a:custGeom>
                <a:avLst/>
                <a:gdLst>
                  <a:gd name="connsiteX0" fmla="*/ 1046693 w 1283761"/>
                  <a:gd name="connsiteY0" fmla="*/ 534988 h 808038"/>
                  <a:gd name="connsiteX1" fmla="*/ 1127311 w 1283761"/>
                  <a:gd name="connsiteY1" fmla="*/ 560653 h 808038"/>
                  <a:gd name="connsiteX2" fmla="*/ 1282838 w 1283761"/>
                  <a:gd name="connsiteY2" fmla="*/ 786650 h 808038"/>
                  <a:gd name="connsiteX3" fmla="*/ 1267856 w 1283761"/>
                  <a:gd name="connsiteY3" fmla="*/ 808038 h 808038"/>
                  <a:gd name="connsiteX4" fmla="*/ 1146573 w 1283761"/>
                  <a:gd name="connsiteY4" fmla="*/ 808038 h 808038"/>
                  <a:gd name="connsiteX5" fmla="*/ 1046693 w 1283761"/>
                  <a:gd name="connsiteY5" fmla="*/ 534988 h 808038"/>
                  <a:gd name="connsiteX6" fmla="*/ 237068 w 1283761"/>
                  <a:gd name="connsiteY6" fmla="*/ 534988 h 808038"/>
                  <a:gd name="connsiteX7" fmla="*/ 137188 w 1283761"/>
                  <a:gd name="connsiteY7" fmla="*/ 808038 h 808038"/>
                  <a:gd name="connsiteX8" fmla="*/ 15905 w 1283761"/>
                  <a:gd name="connsiteY8" fmla="*/ 808038 h 808038"/>
                  <a:gd name="connsiteX9" fmla="*/ 923 w 1283761"/>
                  <a:gd name="connsiteY9" fmla="*/ 786650 h 808038"/>
                  <a:gd name="connsiteX10" fmla="*/ 156450 w 1283761"/>
                  <a:gd name="connsiteY10" fmla="*/ 560653 h 808038"/>
                  <a:gd name="connsiteX11" fmla="*/ 237068 w 1283761"/>
                  <a:gd name="connsiteY11" fmla="*/ 534988 h 808038"/>
                  <a:gd name="connsiteX12" fmla="*/ 433918 w 1283761"/>
                  <a:gd name="connsiteY12" fmla="*/ 514350 h 808038"/>
                  <a:gd name="connsiteX13" fmla="*/ 453214 w 1283761"/>
                  <a:gd name="connsiteY13" fmla="*/ 535773 h 808038"/>
                  <a:gd name="connsiteX14" fmla="*/ 456072 w 1283761"/>
                  <a:gd name="connsiteY14" fmla="*/ 538630 h 808038"/>
                  <a:gd name="connsiteX15" fmla="*/ 641881 w 1283761"/>
                  <a:gd name="connsiteY15" fmla="*/ 612896 h 808038"/>
                  <a:gd name="connsiteX16" fmla="*/ 827689 w 1283761"/>
                  <a:gd name="connsiteY16" fmla="*/ 538630 h 808038"/>
                  <a:gd name="connsiteX17" fmla="*/ 830548 w 1283761"/>
                  <a:gd name="connsiteY17" fmla="*/ 535773 h 808038"/>
                  <a:gd name="connsiteX18" fmla="*/ 849843 w 1283761"/>
                  <a:gd name="connsiteY18" fmla="*/ 514350 h 808038"/>
                  <a:gd name="connsiteX19" fmla="*/ 849843 w 1283761"/>
                  <a:gd name="connsiteY19" fmla="*/ 720725 h 808038"/>
                  <a:gd name="connsiteX20" fmla="*/ 433918 w 1283761"/>
                  <a:gd name="connsiteY20" fmla="*/ 720725 h 808038"/>
                  <a:gd name="connsiteX21" fmla="*/ 433918 w 1283761"/>
                  <a:gd name="connsiteY21" fmla="*/ 514350 h 808038"/>
                  <a:gd name="connsiteX22" fmla="*/ 300568 w 1283761"/>
                  <a:gd name="connsiteY22" fmla="*/ 122238 h 808038"/>
                  <a:gd name="connsiteX23" fmla="*/ 337061 w 1283761"/>
                  <a:gd name="connsiteY23" fmla="*/ 139383 h 808038"/>
                  <a:gd name="connsiteX24" fmla="*/ 369975 w 1283761"/>
                  <a:gd name="connsiteY24" fmla="*/ 177245 h 808038"/>
                  <a:gd name="connsiteX25" fmla="*/ 377131 w 1283761"/>
                  <a:gd name="connsiteY25" fmla="*/ 185818 h 808038"/>
                  <a:gd name="connsiteX26" fmla="*/ 480169 w 1283761"/>
                  <a:gd name="connsiteY26" fmla="*/ 401559 h 808038"/>
                  <a:gd name="connsiteX27" fmla="*/ 641881 w 1283761"/>
                  <a:gd name="connsiteY27" fmla="*/ 482283 h 808038"/>
                  <a:gd name="connsiteX28" fmla="*/ 803593 w 1283761"/>
                  <a:gd name="connsiteY28" fmla="*/ 401559 h 808038"/>
                  <a:gd name="connsiteX29" fmla="*/ 905915 w 1283761"/>
                  <a:gd name="connsiteY29" fmla="*/ 185818 h 808038"/>
                  <a:gd name="connsiteX30" fmla="*/ 913786 w 1283761"/>
                  <a:gd name="connsiteY30" fmla="*/ 177245 h 808038"/>
                  <a:gd name="connsiteX31" fmla="*/ 946701 w 1283761"/>
                  <a:gd name="connsiteY31" fmla="*/ 139383 h 808038"/>
                  <a:gd name="connsiteX32" fmla="*/ 983193 w 1283761"/>
                  <a:gd name="connsiteY32" fmla="*/ 122238 h 808038"/>
                  <a:gd name="connsiteX33" fmla="*/ 983193 w 1283761"/>
                  <a:gd name="connsiteY33" fmla="*/ 124381 h 808038"/>
                  <a:gd name="connsiteX34" fmla="*/ 933105 w 1283761"/>
                  <a:gd name="connsiteY34" fmla="*/ 202248 h 808038"/>
                  <a:gd name="connsiteX35" fmla="*/ 830783 w 1283761"/>
                  <a:gd name="connsiteY35" fmla="*/ 417989 h 808038"/>
                  <a:gd name="connsiteX36" fmla="*/ 830783 w 1283761"/>
                  <a:gd name="connsiteY36" fmla="*/ 487998 h 808038"/>
                  <a:gd name="connsiteX37" fmla="*/ 825774 w 1283761"/>
                  <a:gd name="connsiteY37" fmla="*/ 495142 h 808038"/>
                  <a:gd name="connsiteX38" fmla="*/ 799299 w 1283761"/>
                  <a:gd name="connsiteY38" fmla="*/ 522288 h 808038"/>
                  <a:gd name="connsiteX39" fmla="*/ 799299 w 1283761"/>
                  <a:gd name="connsiteY39" fmla="*/ 444421 h 808038"/>
                  <a:gd name="connsiteX40" fmla="*/ 641881 w 1283761"/>
                  <a:gd name="connsiteY40" fmla="*/ 513716 h 808038"/>
                  <a:gd name="connsiteX41" fmla="*/ 484462 w 1283761"/>
                  <a:gd name="connsiteY41" fmla="*/ 445136 h 808038"/>
                  <a:gd name="connsiteX42" fmla="*/ 484462 w 1283761"/>
                  <a:gd name="connsiteY42" fmla="*/ 522288 h 808038"/>
                  <a:gd name="connsiteX43" fmla="*/ 457987 w 1283761"/>
                  <a:gd name="connsiteY43" fmla="*/ 495142 h 808038"/>
                  <a:gd name="connsiteX44" fmla="*/ 452978 w 1283761"/>
                  <a:gd name="connsiteY44" fmla="*/ 487998 h 808038"/>
                  <a:gd name="connsiteX45" fmla="*/ 452978 w 1283761"/>
                  <a:gd name="connsiteY45" fmla="*/ 417989 h 808038"/>
                  <a:gd name="connsiteX46" fmla="*/ 349940 w 1283761"/>
                  <a:gd name="connsiteY46" fmla="*/ 202248 h 808038"/>
                  <a:gd name="connsiteX47" fmla="*/ 300568 w 1283761"/>
                  <a:gd name="connsiteY47" fmla="*/ 125810 h 808038"/>
                  <a:gd name="connsiteX48" fmla="*/ 300568 w 1283761"/>
                  <a:gd name="connsiteY48" fmla="*/ 122238 h 808038"/>
                  <a:gd name="connsiteX49" fmla="*/ 982913 w 1283761"/>
                  <a:gd name="connsiteY49" fmla="*/ 0 h 808038"/>
                  <a:gd name="connsiteX50" fmla="*/ 987955 w 1283761"/>
                  <a:gd name="connsiteY50" fmla="*/ 2880 h 808038"/>
                  <a:gd name="connsiteX51" fmla="*/ 976431 w 1283761"/>
                  <a:gd name="connsiteY51" fmla="*/ 69831 h 808038"/>
                  <a:gd name="connsiteX52" fmla="*/ 975711 w 1283761"/>
                  <a:gd name="connsiteY52" fmla="*/ 69111 h 808038"/>
                  <a:gd name="connsiteX53" fmla="*/ 936097 w 1283761"/>
                  <a:gd name="connsiteY53" fmla="*/ 123825 h 808038"/>
                  <a:gd name="connsiteX54" fmla="*/ 910888 w 1283761"/>
                  <a:gd name="connsiteY54" fmla="*/ 123825 h 808038"/>
                  <a:gd name="connsiteX55" fmla="*/ 910168 w 1283761"/>
                  <a:gd name="connsiteY55" fmla="*/ 64072 h 808038"/>
                  <a:gd name="connsiteX56" fmla="*/ 915930 w 1283761"/>
                  <a:gd name="connsiteY56" fmla="*/ 66232 h 808038"/>
                  <a:gd name="connsiteX57" fmla="*/ 930335 w 1283761"/>
                  <a:gd name="connsiteY57" fmla="*/ 49674 h 808038"/>
                  <a:gd name="connsiteX58" fmla="*/ 982913 w 1283761"/>
                  <a:gd name="connsiteY58" fmla="*/ 0 h 808038"/>
                  <a:gd name="connsiteX59" fmla="*/ 303022 w 1283761"/>
                  <a:gd name="connsiteY59" fmla="*/ 0 h 808038"/>
                  <a:gd name="connsiteX60" fmla="*/ 355698 w 1283761"/>
                  <a:gd name="connsiteY60" fmla="*/ 49490 h 808038"/>
                  <a:gd name="connsiteX61" fmla="*/ 366522 w 1283761"/>
                  <a:gd name="connsiteY61" fmla="*/ 60966 h 808038"/>
                  <a:gd name="connsiteX62" fmla="*/ 367243 w 1283761"/>
                  <a:gd name="connsiteY62" fmla="*/ 119063 h 808038"/>
                  <a:gd name="connsiteX63" fmla="*/ 344152 w 1283761"/>
                  <a:gd name="connsiteY63" fmla="*/ 116911 h 808038"/>
                  <a:gd name="connsiteX64" fmla="*/ 308795 w 1283761"/>
                  <a:gd name="connsiteY64" fmla="*/ 73876 h 808038"/>
                  <a:gd name="connsiteX65" fmla="*/ 308795 w 1283761"/>
                  <a:gd name="connsiteY65" fmla="*/ 73159 h 808038"/>
                  <a:gd name="connsiteX66" fmla="*/ 295806 w 1283761"/>
                  <a:gd name="connsiteY66" fmla="*/ 5021 h 808038"/>
                  <a:gd name="connsiteX67" fmla="*/ 303022 w 1283761"/>
                  <a:gd name="connsiteY67" fmla="*/ 0 h 8080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</a:cxnLst>
                <a:rect l="l" t="t" r="r" b="b"/>
                <a:pathLst>
                  <a:path w="1283761" h="808038">
                    <a:moveTo>
                      <a:pt x="1046693" y="534988"/>
                    </a:moveTo>
                    <a:cubicBezTo>
                      <a:pt x="1075944" y="541404"/>
                      <a:pt x="1103768" y="549247"/>
                      <a:pt x="1127311" y="560653"/>
                    </a:cubicBezTo>
                    <a:cubicBezTo>
                      <a:pt x="1205788" y="596300"/>
                      <a:pt x="1262862" y="733894"/>
                      <a:pt x="1282838" y="786650"/>
                    </a:cubicBezTo>
                    <a:cubicBezTo>
                      <a:pt x="1286405" y="796631"/>
                      <a:pt x="1279271" y="808038"/>
                      <a:pt x="1267856" y="808038"/>
                    </a:cubicBezTo>
                    <a:cubicBezTo>
                      <a:pt x="1267856" y="808038"/>
                      <a:pt x="1267856" y="808038"/>
                      <a:pt x="1146573" y="808038"/>
                    </a:cubicBezTo>
                    <a:cubicBezTo>
                      <a:pt x="1059535" y="731755"/>
                      <a:pt x="1048120" y="582754"/>
                      <a:pt x="1046693" y="534988"/>
                    </a:cubicBezTo>
                    <a:close/>
                    <a:moveTo>
                      <a:pt x="237068" y="534988"/>
                    </a:moveTo>
                    <a:cubicBezTo>
                      <a:pt x="235641" y="582754"/>
                      <a:pt x="224226" y="731755"/>
                      <a:pt x="137188" y="808038"/>
                    </a:cubicBezTo>
                    <a:cubicBezTo>
                      <a:pt x="137188" y="808038"/>
                      <a:pt x="137188" y="808038"/>
                      <a:pt x="15905" y="808038"/>
                    </a:cubicBezTo>
                    <a:cubicBezTo>
                      <a:pt x="4490" y="808038"/>
                      <a:pt x="-2644" y="796631"/>
                      <a:pt x="923" y="786650"/>
                    </a:cubicBezTo>
                    <a:cubicBezTo>
                      <a:pt x="20899" y="733894"/>
                      <a:pt x="77973" y="596300"/>
                      <a:pt x="156450" y="560653"/>
                    </a:cubicBezTo>
                    <a:cubicBezTo>
                      <a:pt x="179994" y="549247"/>
                      <a:pt x="207817" y="541404"/>
                      <a:pt x="237068" y="534988"/>
                    </a:cubicBezTo>
                    <a:close/>
                    <a:moveTo>
                      <a:pt x="433918" y="514350"/>
                    </a:moveTo>
                    <a:cubicBezTo>
                      <a:pt x="436062" y="517207"/>
                      <a:pt x="442494" y="525776"/>
                      <a:pt x="453214" y="535773"/>
                    </a:cubicBezTo>
                    <a:cubicBezTo>
                      <a:pt x="454643" y="537201"/>
                      <a:pt x="455358" y="537915"/>
                      <a:pt x="456072" y="538630"/>
                    </a:cubicBezTo>
                    <a:cubicBezTo>
                      <a:pt x="487517" y="567908"/>
                      <a:pt x="549691" y="612182"/>
                      <a:pt x="641881" y="612896"/>
                    </a:cubicBezTo>
                    <a:cubicBezTo>
                      <a:pt x="734070" y="612182"/>
                      <a:pt x="796245" y="567908"/>
                      <a:pt x="827689" y="538630"/>
                    </a:cubicBezTo>
                    <a:cubicBezTo>
                      <a:pt x="828404" y="537915"/>
                      <a:pt x="829118" y="537201"/>
                      <a:pt x="830548" y="535773"/>
                    </a:cubicBezTo>
                    <a:cubicBezTo>
                      <a:pt x="841267" y="525776"/>
                      <a:pt x="847699" y="517207"/>
                      <a:pt x="849843" y="514350"/>
                    </a:cubicBezTo>
                    <a:cubicBezTo>
                      <a:pt x="849843" y="514350"/>
                      <a:pt x="849843" y="514350"/>
                      <a:pt x="849843" y="720725"/>
                    </a:cubicBezTo>
                    <a:cubicBezTo>
                      <a:pt x="849843" y="720725"/>
                      <a:pt x="849843" y="720725"/>
                      <a:pt x="433918" y="720725"/>
                    </a:cubicBezTo>
                    <a:cubicBezTo>
                      <a:pt x="433918" y="720725"/>
                      <a:pt x="433918" y="720725"/>
                      <a:pt x="433918" y="514350"/>
                    </a:cubicBezTo>
                    <a:close/>
                    <a:moveTo>
                      <a:pt x="300568" y="122238"/>
                    </a:moveTo>
                    <a:cubicBezTo>
                      <a:pt x="300568" y="122238"/>
                      <a:pt x="300568" y="122238"/>
                      <a:pt x="337061" y="139383"/>
                    </a:cubicBezTo>
                    <a:cubicBezTo>
                      <a:pt x="342069" y="152956"/>
                      <a:pt x="352087" y="168673"/>
                      <a:pt x="369975" y="177245"/>
                    </a:cubicBezTo>
                    <a:cubicBezTo>
                      <a:pt x="373553" y="179388"/>
                      <a:pt x="375700" y="182246"/>
                      <a:pt x="377131" y="185818"/>
                    </a:cubicBezTo>
                    <a:cubicBezTo>
                      <a:pt x="406468" y="259398"/>
                      <a:pt x="459418" y="382985"/>
                      <a:pt x="480169" y="401559"/>
                    </a:cubicBezTo>
                    <a:cubicBezTo>
                      <a:pt x="512368" y="429419"/>
                      <a:pt x="595371" y="482283"/>
                      <a:pt x="641881" y="482283"/>
                    </a:cubicBezTo>
                    <a:cubicBezTo>
                      <a:pt x="687675" y="482283"/>
                      <a:pt x="771393" y="429419"/>
                      <a:pt x="803593" y="401559"/>
                    </a:cubicBezTo>
                    <a:cubicBezTo>
                      <a:pt x="823628" y="382985"/>
                      <a:pt x="877293" y="259398"/>
                      <a:pt x="905915" y="185818"/>
                    </a:cubicBezTo>
                    <a:cubicBezTo>
                      <a:pt x="907346" y="182246"/>
                      <a:pt x="910208" y="179388"/>
                      <a:pt x="913786" y="177245"/>
                    </a:cubicBezTo>
                    <a:cubicBezTo>
                      <a:pt x="931674" y="168673"/>
                      <a:pt x="941692" y="153671"/>
                      <a:pt x="946701" y="139383"/>
                    </a:cubicBezTo>
                    <a:cubicBezTo>
                      <a:pt x="946701" y="139383"/>
                      <a:pt x="946701" y="139383"/>
                      <a:pt x="983193" y="122238"/>
                    </a:cubicBezTo>
                    <a:cubicBezTo>
                      <a:pt x="983193" y="122953"/>
                      <a:pt x="983193" y="123667"/>
                      <a:pt x="983193" y="124381"/>
                    </a:cubicBezTo>
                    <a:cubicBezTo>
                      <a:pt x="980331" y="140812"/>
                      <a:pt x="971029" y="180817"/>
                      <a:pt x="933105" y="202248"/>
                    </a:cubicBezTo>
                    <a:cubicBezTo>
                      <a:pt x="917364" y="242253"/>
                      <a:pt x="862983" y="377984"/>
                      <a:pt x="830783" y="417989"/>
                    </a:cubicBezTo>
                    <a:cubicBezTo>
                      <a:pt x="830783" y="417989"/>
                      <a:pt x="830783" y="417989"/>
                      <a:pt x="830783" y="487998"/>
                    </a:cubicBezTo>
                    <a:cubicBezTo>
                      <a:pt x="830783" y="487998"/>
                      <a:pt x="830783" y="487998"/>
                      <a:pt x="825774" y="495142"/>
                    </a:cubicBezTo>
                    <a:cubicBezTo>
                      <a:pt x="824343" y="496571"/>
                      <a:pt x="815757" y="508001"/>
                      <a:pt x="799299" y="522288"/>
                    </a:cubicBezTo>
                    <a:cubicBezTo>
                      <a:pt x="799299" y="522288"/>
                      <a:pt x="799299" y="522288"/>
                      <a:pt x="799299" y="444421"/>
                    </a:cubicBezTo>
                    <a:cubicBezTo>
                      <a:pt x="757083" y="475139"/>
                      <a:pt x="688391" y="513716"/>
                      <a:pt x="641881" y="513716"/>
                    </a:cubicBezTo>
                    <a:cubicBezTo>
                      <a:pt x="595371" y="513716"/>
                      <a:pt x="526679" y="475139"/>
                      <a:pt x="484462" y="445136"/>
                    </a:cubicBezTo>
                    <a:cubicBezTo>
                      <a:pt x="484462" y="445136"/>
                      <a:pt x="484462" y="445136"/>
                      <a:pt x="484462" y="522288"/>
                    </a:cubicBezTo>
                    <a:cubicBezTo>
                      <a:pt x="468004" y="508001"/>
                      <a:pt x="459418" y="496571"/>
                      <a:pt x="457987" y="495142"/>
                    </a:cubicBezTo>
                    <a:cubicBezTo>
                      <a:pt x="457987" y="495142"/>
                      <a:pt x="457987" y="495142"/>
                      <a:pt x="452978" y="487998"/>
                    </a:cubicBezTo>
                    <a:cubicBezTo>
                      <a:pt x="452978" y="487998"/>
                      <a:pt x="452978" y="487998"/>
                      <a:pt x="452978" y="417989"/>
                    </a:cubicBezTo>
                    <a:cubicBezTo>
                      <a:pt x="420779" y="378699"/>
                      <a:pt x="365682" y="242253"/>
                      <a:pt x="349940" y="202248"/>
                    </a:cubicBezTo>
                    <a:cubicBezTo>
                      <a:pt x="314879" y="181531"/>
                      <a:pt x="304146" y="145813"/>
                      <a:pt x="300568" y="125810"/>
                    </a:cubicBezTo>
                    <a:cubicBezTo>
                      <a:pt x="300568" y="125096"/>
                      <a:pt x="300568" y="123667"/>
                      <a:pt x="300568" y="122238"/>
                    </a:cubicBezTo>
                    <a:close/>
                    <a:moveTo>
                      <a:pt x="982913" y="0"/>
                    </a:moveTo>
                    <a:cubicBezTo>
                      <a:pt x="982913" y="0"/>
                      <a:pt x="982913" y="0"/>
                      <a:pt x="987955" y="2880"/>
                    </a:cubicBezTo>
                    <a:cubicBezTo>
                      <a:pt x="987235" y="26637"/>
                      <a:pt x="984354" y="48954"/>
                      <a:pt x="976431" y="69831"/>
                    </a:cubicBezTo>
                    <a:cubicBezTo>
                      <a:pt x="975711" y="69831"/>
                      <a:pt x="975711" y="69831"/>
                      <a:pt x="975711" y="69111"/>
                    </a:cubicBezTo>
                    <a:cubicBezTo>
                      <a:pt x="974991" y="69831"/>
                      <a:pt x="969229" y="87829"/>
                      <a:pt x="936097" y="123825"/>
                    </a:cubicBezTo>
                    <a:cubicBezTo>
                      <a:pt x="936097" y="123825"/>
                      <a:pt x="936097" y="123825"/>
                      <a:pt x="910888" y="123825"/>
                    </a:cubicBezTo>
                    <a:cubicBezTo>
                      <a:pt x="910888" y="123825"/>
                      <a:pt x="910888" y="119505"/>
                      <a:pt x="910168" y="64072"/>
                    </a:cubicBezTo>
                    <a:cubicBezTo>
                      <a:pt x="910168" y="64072"/>
                      <a:pt x="910168" y="64072"/>
                      <a:pt x="915930" y="66232"/>
                    </a:cubicBezTo>
                    <a:cubicBezTo>
                      <a:pt x="915930" y="66232"/>
                      <a:pt x="915930" y="66232"/>
                      <a:pt x="930335" y="49674"/>
                    </a:cubicBezTo>
                    <a:cubicBezTo>
                      <a:pt x="948341" y="28796"/>
                      <a:pt x="970669" y="7919"/>
                      <a:pt x="982913" y="0"/>
                    </a:cubicBezTo>
                    <a:close/>
                    <a:moveTo>
                      <a:pt x="303022" y="0"/>
                    </a:moveTo>
                    <a:cubicBezTo>
                      <a:pt x="315289" y="7890"/>
                      <a:pt x="338380" y="28690"/>
                      <a:pt x="355698" y="49490"/>
                    </a:cubicBezTo>
                    <a:cubicBezTo>
                      <a:pt x="355698" y="49490"/>
                      <a:pt x="355698" y="49490"/>
                      <a:pt x="366522" y="60966"/>
                    </a:cubicBezTo>
                    <a:cubicBezTo>
                      <a:pt x="365078" y="94676"/>
                      <a:pt x="367243" y="119063"/>
                      <a:pt x="367243" y="119063"/>
                    </a:cubicBezTo>
                    <a:cubicBezTo>
                      <a:pt x="367243" y="119063"/>
                      <a:pt x="367243" y="119063"/>
                      <a:pt x="344152" y="116911"/>
                    </a:cubicBezTo>
                    <a:cubicBezTo>
                      <a:pt x="344152" y="116911"/>
                      <a:pt x="344152" y="104001"/>
                      <a:pt x="308795" y="73876"/>
                    </a:cubicBezTo>
                    <a:cubicBezTo>
                      <a:pt x="308795" y="73876"/>
                      <a:pt x="308795" y="73159"/>
                      <a:pt x="308795" y="73159"/>
                    </a:cubicBezTo>
                    <a:cubicBezTo>
                      <a:pt x="300857" y="51642"/>
                      <a:pt x="297249" y="28690"/>
                      <a:pt x="295806" y="5021"/>
                    </a:cubicBezTo>
                    <a:cubicBezTo>
                      <a:pt x="295806" y="5021"/>
                      <a:pt x="295806" y="5021"/>
                      <a:pt x="303022" y="0"/>
                    </a:cubicBezTo>
                    <a:close/>
                  </a:path>
                </a:pathLst>
              </a:custGeom>
              <a:solidFill>
                <a:srgbClr val="283B85">
                  <a:lumMod val="100000"/>
                </a:srgbClr>
              </a:solidFill>
              <a:ln>
                <a:noFill/>
              </a:ln>
            </p:spPr>
            <p:txBody>
              <a:bodyPr vert="horz" wrap="square" lIns="68665" tIns="34332" rIns="68665" bIns="34332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9" name="Freeform 49"/>
              <p:cNvSpPr>
                <a:spLocks/>
              </p:cNvSpPr>
              <p:nvPr/>
            </p:nvSpPr>
            <p:spPr bwMode="auto">
              <a:xfrm>
                <a:off x="3538538" y="2752725"/>
                <a:ext cx="920750" cy="1230313"/>
              </a:xfrm>
              <a:custGeom>
                <a:avLst/>
                <a:gdLst>
                  <a:gd name="connsiteX0" fmla="*/ 221266 w 920750"/>
                  <a:gd name="connsiteY0" fmla="*/ 936625 h 1230313"/>
                  <a:gd name="connsiteX1" fmla="*/ 221266 w 920750"/>
                  <a:gd name="connsiteY1" fmla="*/ 1158317 h 1230313"/>
                  <a:gd name="connsiteX2" fmla="*/ 236968 w 920750"/>
                  <a:gd name="connsiteY2" fmla="*/ 1173999 h 1230313"/>
                  <a:gd name="connsiteX3" fmla="*/ 683782 w 920750"/>
                  <a:gd name="connsiteY3" fmla="*/ 1173999 h 1230313"/>
                  <a:gd name="connsiteX4" fmla="*/ 699485 w 920750"/>
                  <a:gd name="connsiteY4" fmla="*/ 1158317 h 1230313"/>
                  <a:gd name="connsiteX5" fmla="*/ 699485 w 920750"/>
                  <a:gd name="connsiteY5" fmla="*/ 936625 h 1230313"/>
                  <a:gd name="connsiteX6" fmla="*/ 833672 w 920750"/>
                  <a:gd name="connsiteY6" fmla="*/ 950882 h 1230313"/>
                  <a:gd name="connsiteX7" fmla="*/ 920750 w 920750"/>
                  <a:gd name="connsiteY7" fmla="*/ 1230313 h 1230313"/>
                  <a:gd name="connsiteX8" fmla="*/ 0 w 920750"/>
                  <a:gd name="connsiteY8" fmla="*/ 1230313 h 1230313"/>
                  <a:gd name="connsiteX9" fmla="*/ 87079 w 920750"/>
                  <a:gd name="connsiteY9" fmla="*/ 950882 h 1230313"/>
                  <a:gd name="connsiteX10" fmla="*/ 221266 w 920750"/>
                  <a:gd name="connsiteY10" fmla="*/ 936625 h 1230313"/>
                  <a:gd name="connsiteX11" fmla="*/ 419491 w 920750"/>
                  <a:gd name="connsiteY11" fmla="*/ 279937 h 1230313"/>
                  <a:gd name="connsiteX12" fmla="*/ 809067 w 920750"/>
                  <a:gd name="connsiteY12" fmla="*/ 378411 h 1230313"/>
                  <a:gd name="connsiteX13" fmla="*/ 811212 w 920750"/>
                  <a:gd name="connsiteY13" fmla="*/ 379831 h 1230313"/>
                  <a:gd name="connsiteX14" fmla="*/ 809782 w 920750"/>
                  <a:gd name="connsiteY14" fmla="*/ 389774 h 1230313"/>
                  <a:gd name="connsiteX15" fmla="*/ 804061 w 920750"/>
                  <a:gd name="connsiteY15" fmla="*/ 387643 h 1230313"/>
                  <a:gd name="connsiteX16" fmla="*/ 781178 w 920750"/>
                  <a:gd name="connsiteY16" fmla="*/ 398296 h 1230313"/>
                  <a:gd name="connsiteX17" fmla="*/ 728260 w 920750"/>
                  <a:gd name="connsiteY17" fmla="*/ 447300 h 1230313"/>
                  <a:gd name="connsiteX18" fmla="*/ 725400 w 920750"/>
                  <a:gd name="connsiteY18" fmla="*/ 450851 h 1230313"/>
                  <a:gd name="connsiteX19" fmla="*/ 466532 w 920750"/>
                  <a:gd name="connsiteY19" fmla="*/ 385513 h 1230313"/>
                  <a:gd name="connsiteX20" fmla="*/ 462241 w 920750"/>
                  <a:gd name="connsiteY20" fmla="*/ 385513 h 1230313"/>
                  <a:gd name="connsiteX21" fmla="*/ 460096 w 920750"/>
                  <a:gd name="connsiteY21" fmla="*/ 385513 h 1230313"/>
                  <a:gd name="connsiteX22" fmla="*/ 456520 w 920750"/>
                  <a:gd name="connsiteY22" fmla="*/ 385513 h 1230313"/>
                  <a:gd name="connsiteX23" fmla="*/ 197653 w 920750"/>
                  <a:gd name="connsiteY23" fmla="*/ 450851 h 1230313"/>
                  <a:gd name="connsiteX24" fmla="*/ 187641 w 920750"/>
                  <a:gd name="connsiteY24" fmla="*/ 440198 h 1230313"/>
                  <a:gd name="connsiteX25" fmla="*/ 146880 w 920750"/>
                  <a:gd name="connsiteY25" fmla="*/ 401847 h 1230313"/>
                  <a:gd name="connsiteX26" fmla="*/ 118276 w 920750"/>
                  <a:gd name="connsiteY26" fmla="*/ 387643 h 1230313"/>
                  <a:gd name="connsiteX27" fmla="*/ 113270 w 920750"/>
                  <a:gd name="connsiteY27" fmla="*/ 389774 h 1230313"/>
                  <a:gd name="connsiteX28" fmla="*/ 111125 w 920750"/>
                  <a:gd name="connsiteY28" fmla="*/ 378411 h 1230313"/>
                  <a:gd name="connsiteX29" fmla="*/ 111840 w 920750"/>
                  <a:gd name="connsiteY29" fmla="*/ 378411 h 1230313"/>
                  <a:gd name="connsiteX30" fmla="*/ 320651 w 920750"/>
                  <a:gd name="connsiteY30" fmla="*/ 293897 h 1230313"/>
                  <a:gd name="connsiteX31" fmla="*/ 419491 w 920750"/>
                  <a:gd name="connsiteY31" fmla="*/ 279937 h 1230313"/>
                  <a:gd name="connsiteX32" fmla="*/ 461962 w 920750"/>
                  <a:gd name="connsiteY32" fmla="*/ 0 h 1230313"/>
                  <a:gd name="connsiteX33" fmla="*/ 559875 w 920750"/>
                  <a:gd name="connsiteY33" fmla="*/ 14330 h 1230313"/>
                  <a:gd name="connsiteX34" fmla="*/ 815020 w 920750"/>
                  <a:gd name="connsiteY34" fmla="*/ 346075 h 1230313"/>
                  <a:gd name="connsiteX35" fmla="*/ 547725 w 920750"/>
                  <a:gd name="connsiteY35" fmla="*/ 252212 h 1230313"/>
                  <a:gd name="connsiteX36" fmla="*/ 314736 w 920750"/>
                  <a:gd name="connsiteY36" fmla="*/ 262960 h 1230313"/>
                  <a:gd name="connsiteX37" fmla="*/ 108190 w 920750"/>
                  <a:gd name="connsiteY37" fmla="*/ 343926 h 1230313"/>
                  <a:gd name="connsiteX38" fmla="*/ 364049 w 920750"/>
                  <a:gd name="connsiteY38" fmla="*/ 14330 h 1230313"/>
                  <a:gd name="connsiteX39" fmla="*/ 461962 w 920750"/>
                  <a:gd name="connsiteY39" fmla="*/ 0 h 12303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</a:cxnLst>
                <a:rect l="l" t="t" r="r" b="b"/>
                <a:pathLst>
                  <a:path w="920750" h="1230313">
                    <a:moveTo>
                      <a:pt x="221266" y="936625"/>
                    </a:moveTo>
                    <a:cubicBezTo>
                      <a:pt x="221266" y="936625"/>
                      <a:pt x="221266" y="936625"/>
                      <a:pt x="221266" y="1158317"/>
                    </a:cubicBezTo>
                    <a:cubicBezTo>
                      <a:pt x="221266" y="1166871"/>
                      <a:pt x="228403" y="1173999"/>
                      <a:pt x="236968" y="1173999"/>
                    </a:cubicBezTo>
                    <a:cubicBezTo>
                      <a:pt x="236968" y="1173999"/>
                      <a:pt x="236968" y="1173999"/>
                      <a:pt x="683782" y="1173999"/>
                    </a:cubicBezTo>
                    <a:cubicBezTo>
                      <a:pt x="692347" y="1173999"/>
                      <a:pt x="699485" y="1166871"/>
                      <a:pt x="699485" y="1158317"/>
                    </a:cubicBezTo>
                    <a:cubicBezTo>
                      <a:pt x="699485" y="1158317"/>
                      <a:pt x="699485" y="1158317"/>
                      <a:pt x="699485" y="936625"/>
                    </a:cubicBezTo>
                    <a:cubicBezTo>
                      <a:pt x="730890" y="938051"/>
                      <a:pt x="781567" y="942328"/>
                      <a:pt x="833672" y="950882"/>
                    </a:cubicBezTo>
                    <a:cubicBezTo>
                      <a:pt x="833672" y="990801"/>
                      <a:pt x="840809" y="1137645"/>
                      <a:pt x="920750" y="1230313"/>
                    </a:cubicBezTo>
                    <a:cubicBezTo>
                      <a:pt x="920750" y="1230313"/>
                      <a:pt x="920750" y="1230313"/>
                      <a:pt x="0" y="1230313"/>
                    </a:cubicBezTo>
                    <a:cubicBezTo>
                      <a:pt x="79941" y="1137645"/>
                      <a:pt x="87079" y="990801"/>
                      <a:pt x="87079" y="950882"/>
                    </a:cubicBezTo>
                    <a:cubicBezTo>
                      <a:pt x="139183" y="942328"/>
                      <a:pt x="189860" y="938051"/>
                      <a:pt x="221266" y="936625"/>
                    </a:cubicBezTo>
                    <a:close/>
                    <a:moveTo>
                      <a:pt x="419491" y="279937"/>
                    </a:moveTo>
                    <a:cubicBezTo>
                      <a:pt x="528433" y="272813"/>
                      <a:pt x="665331" y="291056"/>
                      <a:pt x="809067" y="378411"/>
                    </a:cubicBezTo>
                    <a:cubicBezTo>
                      <a:pt x="809782" y="379121"/>
                      <a:pt x="810497" y="379121"/>
                      <a:pt x="811212" y="379831"/>
                    </a:cubicBezTo>
                    <a:cubicBezTo>
                      <a:pt x="810497" y="384803"/>
                      <a:pt x="809782" y="387643"/>
                      <a:pt x="809782" y="389774"/>
                    </a:cubicBezTo>
                    <a:cubicBezTo>
                      <a:pt x="807637" y="388354"/>
                      <a:pt x="806206" y="387643"/>
                      <a:pt x="804061" y="387643"/>
                    </a:cubicBezTo>
                    <a:cubicBezTo>
                      <a:pt x="798340" y="387643"/>
                      <a:pt x="789759" y="391905"/>
                      <a:pt x="781178" y="398296"/>
                    </a:cubicBezTo>
                    <a:cubicBezTo>
                      <a:pt x="761155" y="412500"/>
                      <a:pt x="736841" y="438068"/>
                      <a:pt x="728260" y="447300"/>
                    </a:cubicBezTo>
                    <a:cubicBezTo>
                      <a:pt x="726115" y="449431"/>
                      <a:pt x="725400" y="450851"/>
                      <a:pt x="725400" y="450851"/>
                    </a:cubicBezTo>
                    <a:cubicBezTo>
                      <a:pt x="725400" y="450851"/>
                      <a:pt x="547339" y="385513"/>
                      <a:pt x="466532" y="385513"/>
                    </a:cubicBezTo>
                    <a:cubicBezTo>
                      <a:pt x="465102" y="385513"/>
                      <a:pt x="463672" y="385513"/>
                      <a:pt x="462241" y="385513"/>
                    </a:cubicBezTo>
                    <a:cubicBezTo>
                      <a:pt x="461526" y="385513"/>
                      <a:pt x="460096" y="385513"/>
                      <a:pt x="460096" y="385513"/>
                    </a:cubicBezTo>
                    <a:cubicBezTo>
                      <a:pt x="458666" y="385513"/>
                      <a:pt x="457951" y="385513"/>
                      <a:pt x="456520" y="385513"/>
                    </a:cubicBezTo>
                    <a:cubicBezTo>
                      <a:pt x="375714" y="385513"/>
                      <a:pt x="197653" y="450851"/>
                      <a:pt x="197653" y="450851"/>
                    </a:cubicBezTo>
                    <a:cubicBezTo>
                      <a:pt x="197653" y="450851"/>
                      <a:pt x="193362" y="446590"/>
                      <a:pt x="187641" y="440198"/>
                    </a:cubicBezTo>
                    <a:cubicBezTo>
                      <a:pt x="177630" y="429545"/>
                      <a:pt x="161898" y="413921"/>
                      <a:pt x="146880" y="401847"/>
                    </a:cubicBezTo>
                    <a:cubicBezTo>
                      <a:pt x="136154" y="394035"/>
                      <a:pt x="125427" y="387643"/>
                      <a:pt x="118276" y="387643"/>
                    </a:cubicBezTo>
                    <a:cubicBezTo>
                      <a:pt x="116131" y="387643"/>
                      <a:pt x="114701" y="388354"/>
                      <a:pt x="113270" y="389774"/>
                    </a:cubicBezTo>
                    <a:cubicBezTo>
                      <a:pt x="112555" y="387643"/>
                      <a:pt x="111840" y="384092"/>
                      <a:pt x="111125" y="378411"/>
                    </a:cubicBezTo>
                    <a:cubicBezTo>
                      <a:pt x="111125" y="378411"/>
                      <a:pt x="111840" y="378411"/>
                      <a:pt x="111840" y="378411"/>
                    </a:cubicBezTo>
                    <a:cubicBezTo>
                      <a:pt x="112555" y="377701"/>
                      <a:pt x="194077" y="321595"/>
                      <a:pt x="320651" y="293897"/>
                    </a:cubicBezTo>
                    <a:cubicBezTo>
                      <a:pt x="349970" y="287505"/>
                      <a:pt x="383178" y="282312"/>
                      <a:pt x="419491" y="279937"/>
                    </a:cubicBezTo>
                    <a:close/>
                    <a:moveTo>
                      <a:pt x="461962" y="0"/>
                    </a:moveTo>
                    <a:cubicBezTo>
                      <a:pt x="518423" y="717"/>
                      <a:pt x="559875" y="14330"/>
                      <a:pt x="559875" y="14330"/>
                    </a:cubicBezTo>
                    <a:cubicBezTo>
                      <a:pt x="803585" y="77383"/>
                      <a:pt x="820737" y="260094"/>
                      <a:pt x="815020" y="346075"/>
                    </a:cubicBezTo>
                    <a:cubicBezTo>
                      <a:pt x="729971" y="295203"/>
                      <a:pt x="639920" y="263676"/>
                      <a:pt x="547725" y="252212"/>
                    </a:cubicBezTo>
                    <a:cubicBezTo>
                      <a:pt x="471253" y="242181"/>
                      <a:pt x="392637" y="245764"/>
                      <a:pt x="314736" y="262960"/>
                    </a:cubicBezTo>
                    <a:cubicBezTo>
                      <a:pt x="211106" y="285888"/>
                      <a:pt x="137492" y="326013"/>
                      <a:pt x="108190" y="343926"/>
                    </a:cubicBezTo>
                    <a:cubicBezTo>
                      <a:pt x="103187" y="257944"/>
                      <a:pt x="121769" y="77383"/>
                      <a:pt x="364049" y="14330"/>
                    </a:cubicBezTo>
                    <a:cubicBezTo>
                      <a:pt x="364049" y="14330"/>
                      <a:pt x="405502" y="717"/>
                      <a:pt x="461962" y="0"/>
                    </a:cubicBezTo>
                    <a:close/>
                  </a:path>
                </a:pathLst>
              </a:custGeom>
              <a:solidFill>
                <a:srgbClr val="5D78D1">
                  <a:lumMod val="100000"/>
                </a:srgbClr>
              </a:solidFill>
              <a:ln>
                <a:noFill/>
              </a:ln>
            </p:spPr>
            <p:txBody>
              <a:bodyPr vert="horz" wrap="square" lIns="68665" tIns="34332" rIns="68665" bIns="34332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91" name="object 35"/>
          <p:cNvSpPr/>
          <p:nvPr/>
        </p:nvSpPr>
        <p:spPr>
          <a:xfrm>
            <a:off x="4605960" y="3625379"/>
            <a:ext cx="486845" cy="230224"/>
          </a:xfrm>
          <a:custGeom>
            <a:avLst/>
            <a:gdLst/>
            <a:ahLst/>
            <a:cxnLst/>
            <a:rect l="l" t="t" r="r" b="b"/>
            <a:pathLst>
              <a:path w="1153795" h="725804">
                <a:moveTo>
                  <a:pt x="790955" y="0"/>
                </a:moveTo>
                <a:lnTo>
                  <a:pt x="790955" y="181356"/>
                </a:lnTo>
                <a:lnTo>
                  <a:pt x="0" y="181356"/>
                </a:lnTo>
                <a:lnTo>
                  <a:pt x="0" y="544068"/>
                </a:lnTo>
                <a:lnTo>
                  <a:pt x="790955" y="544068"/>
                </a:lnTo>
                <a:lnTo>
                  <a:pt x="790955" y="725424"/>
                </a:lnTo>
                <a:lnTo>
                  <a:pt x="1153667" y="362712"/>
                </a:lnTo>
                <a:lnTo>
                  <a:pt x="790955" y="0"/>
                </a:lnTo>
                <a:close/>
              </a:path>
            </a:pathLst>
          </a:custGeom>
          <a:solidFill>
            <a:srgbClr val="C0504D">
              <a:lumMod val="60000"/>
              <a:lumOff val="40000"/>
              <a:alpha val="44000"/>
            </a:srgbClr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" name="object 35"/>
          <p:cNvSpPr/>
          <p:nvPr/>
        </p:nvSpPr>
        <p:spPr>
          <a:xfrm>
            <a:off x="6293826" y="3620495"/>
            <a:ext cx="486845" cy="230224"/>
          </a:xfrm>
          <a:custGeom>
            <a:avLst/>
            <a:gdLst/>
            <a:ahLst/>
            <a:cxnLst/>
            <a:rect l="l" t="t" r="r" b="b"/>
            <a:pathLst>
              <a:path w="1153795" h="725804">
                <a:moveTo>
                  <a:pt x="790955" y="0"/>
                </a:moveTo>
                <a:lnTo>
                  <a:pt x="790955" y="181356"/>
                </a:lnTo>
                <a:lnTo>
                  <a:pt x="0" y="181356"/>
                </a:lnTo>
                <a:lnTo>
                  <a:pt x="0" y="544068"/>
                </a:lnTo>
                <a:lnTo>
                  <a:pt x="790955" y="544068"/>
                </a:lnTo>
                <a:lnTo>
                  <a:pt x="790955" y="725424"/>
                </a:lnTo>
                <a:lnTo>
                  <a:pt x="1153667" y="362712"/>
                </a:lnTo>
                <a:lnTo>
                  <a:pt x="790955" y="0"/>
                </a:lnTo>
                <a:close/>
              </a:path>
            </a:pathLst>
          </a:custGeom>
          <a:solidFill>
            <a:srgbClr val="C0504D">
              <a:lumMod val="60000"/>
              <a:lumOff val="40000"/>
              <a:alpha val="44000"/>
            </a:srgbClr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3" name="object 35"/>
          <p:cNvSpPr/>
          <p:nvPr/>
        </p:nvSpPr>
        <p:spPr>
          <a:xfrm>
            <a:off x="7784696" y="3605841"/>
            <a:ext cx="486845" cy="230224"/>
          </a:xfrm>
          <a:custGeom>
            <a:avLst/>
            <a:gdLst/>
            <a:ahLst/>
            <a:cxnLst/>
            <a:rect l="l" t="t" r="r" b="b"/>
            <a:pathLst>
              <a:path w="1153795" h="725804">
                <a:moveTo>
                  <a:pt x="790955" y="0"/>
                </a:moveTo>
                <a:lnTo>
                  <a:pt x="790955" y="181356"/>
                </a:lnTo>
                <a:lnTo>
                  <a:pt x="0" y="181356"/>
                </a:lnTo>
                <a:lnTo>
                  <a:pt x="0" y="544068"/>
                </a:lnTo>
                <a:lnTo>
                  <a:pt x="790955" y="544068"/>
                </a:lnTo>
                <a:lnTo>
                  <a:pt x="790955" y="725424"/>
                </a:lnTo>
                <a:lnTo>
                  <a:pt x="1153667" y="362712"/>
                </a:lnTo>
                <a:lnTo>
                  <a:pt x="790955" y="0"/>
                </a:lnTo>
                <a:close/>
              </a:path>
            </a:pathLst>
          </a:custGeom>
          <a:solidFill>
            <a:srgbClr val="C0504D">
              <a:lumMod val="60000"/>
              <a:lumOff val="40000"/>
              <a:alpha val="44000"/>
            </a:srgbClr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5" name="object 35"/>
          <p:cNvSpPr/>
          <p:nvPr/>
        </p:nvSpPr>
        <p:spPr>
          <a:xfrm>
            <a:off x="9651657" y="3630267"/>
            <a:ext cx="486845" cy="230224"/>
          </a:xfrm>
          <a:custGeom>
            <a:avLst/>
            <a:gdLst/>
            <a:ahLst/>
            <a:cxnLst/>
            <a:rect l="l" t="t" r="r" b="b"/>
            <a:pathLst>
              <a:path w="1153795" h="725804">
                <a:moveTo>
                  <a:pt x="790955" y="0"/>
                </a:moveTo>
                <a:lnTo>
                  <a:pt x="790955" y="181356"/>
                </a:lnTo>
                <a:lnTo>
                  <a:pt x="0" y="181356"/>
                </a:lnTo>
                <a:lnTo>
                  <a:pt x="0" y="544068"/>
                </a:lnTo>
                <a:lnTo>
                  <a:pt x="790955" y="544068"/>
                </a:lnTo>
                <a:lnTo>
                  <a:pt x="790955" y="725424"/>
                </a:lnTo>
                <a:lnTo>
                  <a:pt x="1153667" y="362712"/>
                </a:lnTo>
                <a:lnTo>
                  <a:pt x="790955" y="0"/>
                </a:lnTo>
                <a:close/>
              </a:path>
            </a:pathLst>
          </a:custGeom>
          <a:solidFill>
            <a:srgbClr val="C0504D">
              <a:lumMod val="60000"/>
              <a:lumOff val="40000"/>
              <a:alpha val="44000"/>
            </a:srgbClr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96" name="Group 238"/>
          <p:cNvGrpSpPr>
            <a:grpSpLocks noChangeAspect="1"/>
          </p:cNvGrpSpPr>
          <p:nvPr/>
        </p:nvGrpSpPr>
        <p:grpSpPr>
          <a:xfrm>
            <a:off x="8660142" y="3364868"/>
            <a:ext cx="670089" cy="762348"/>
            <a:chOff x="5272989" y="2606040"/>
            <a:chExt cx="1644650" cy="1644650"/>
          </a:xfrm>
        </p:grpSpPr>
        <p:sp>
          <p:nvSpPr>
            <p:cNvPr id="97" name="AutoShape 541"/>
            <p:cNvSpPr>
              <a:spLocks noChangeAspect="1" noChangeArrowheads="1" noTextEdit="1"/>
            </p:cNvSpPr>
            <p:nvPr/>
          </p:nvSpPr>
          <p:spPr bwMode="auto">
            <a:xfrm>
              <a:off x="5272989" y="2606040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665" tIns="34332" rIns="68665" bIns="34332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98" name="Group 240"/>
            <p:cNvGrpSpPr/>
            <p:nvPr/>
          </p:nvGrpSpPr>
          <p:grpSpPr>
            <a:xfrm>
              <a:off x="5411182" y="2776303"/>
              <a:ext cx="1368264" cy="1304124"/>
              <a:chOff x="5411182" y="2776303"/>
              <a:chExt cx="1368264" cy="1304124"/>
            </a:xfrm>
          </p:grpSpPr>
          <p:sp>
            <p:nvSpPr>
              <p:cNvPr id="99" name="Freeform 553"/>
              <p:cNvSpPr>
                <a:spLocks/>
              </p:cNvSpPr>
              <p:nvPr/>
            </p:nvSpPr>
            <p:spPr bwMode="auto">
              <a:xfrm>
                <a:off x="6076950" y="3803415"/>
                <a:ext cx="1588" cy="3175"/>
              </a:xfrm>
              <a:custGeom>
                <a:avLst/>
                <a:gdLst>
                  <a:gd name="T0" fmla="*/ 0 w 2"/>
                  <a:gd name="T1" fmla="*/ 5 h 5"/>
                  <a:gd name="T2" fmla="*/ 2 w 2"/>
                  <a:gd name="T3" fmla="*/ 5 h 5"/>
                  <a:gd name="T4" fmla="*/ 1 w 2"/>
                  <a:gd name="T5" fmla="*/ 0 h 5"/>
                  <a:gd name="T6" fmla="*/ 0 w 2"/>
                  <a:gd name="T7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5">
                    <a:moveTo>
                      <a:pt x="0" y="5"/>
                    </a:moveTo>
                    <a:cubicBezTo>
                      <a:pt x="1" y="5"/>
                      <a:pt x="2" y="5"/>
                      <a:pt x="2" y="5"/>
                    </a:cubicBezTo>
                    <a:cubicBezTo>
                      <a:pt x="2" y="4"/>
                      <a:pt x="1" y="2"/>
                      <a:pt x="1" y="0"/>
                    </a:cubicBezTo>
                    <a:cubicBezTo>
                      <a:pt x="1" y="2"/>
                      <a:pt x="0" y="4"/>
                      <a:pt x="0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665" tIns="34332" rIns="68665" bIns="34332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0" name="Freeform 242"/>
              <p:cNvSpPr>
                <a:spLocks/>
              </p:cNvSpPr>
              <p:nvPr/>
            </p:nvSpPr>
            <p:spPr bwMode="auto">
              <a:xfrm>
                <a:off x="5417531" y="2925528"/>
                <a:ext cx="1361915" cy="1154899"/>
              </a:xfrm>
              <a:custGeom>
                <a:avLst/>
                <a:gdLst>
                  <a:gd name="connsiteX0" fmla="*/ 764282 w 1361915"/>
                  <a:gd name="connsiteY0" fmla="*/ 869964 h 1154899"/>
                  <a:gd name="connsiteX1" fmla="*/ 715772 w 1361915"/>
                  <a:gd name="connsiteY1" fmla="*/ 879370 h 1154899"/>
                  <a:gd name="connsiteX2" fmla="*/ 742740 w 1361915"/>
                  <a:gd name="connsiteY2" fmla="*/ 876651 h 1154899"/>
                  <a:gd name="connsiteX3" fmla="*/ 601567 w 1361915"/>
                  <a:gd name="connsiteY3" fmla="*/ 869773 h 1154899"/>
                  <a:gd name="connsiteX4" fmla="*/ 623724 w 1361915"/>
                  <a:gd name="connsiteY4" fmla="*/ 876651 h 1154899"/>
                  <a:gd name="connsiteX5" fmla="*/ 650806 w 1361915"/>
                  <a:gd name="connsiteY5" fmla="*/ 879381 h 1154899"/>
                  <a:gd name="connsiteX6" fmla="*/ 822128 w 1361915"/>
                  <a:gd name="connsiteY6" fmla="*/ 846440 h 1154899"/>
                  <a:gd name="connsiteX7" fmla="*/ 779592 w 1361915"/>
                  <a:gd name="connsiteY7" fmla="*/ 865212 h 1154899"/>
                  <a:gd name="connsiteX8" fmla="*/ 798166 w 1361915"/>
                  <a:gd name="connsiteY8" fmla="*/ 859446 h 1154899"/>
                  <a:gd name="connsiteX9" fmla="*/ 541785 w 1361915"/>
                  <a:gd name="connsiteY9" fmla="*/ 845056 h 1154899"/>
                  <a:gd name="connsiteX10" fmla="*/ 568297 w 1361915"/>
                  <a:gd name="connsiteY10" fmla="*/ 859446 h 1154899"/>
                  <a:gd name="connsiteX11" fmla="*/ 588431 w 1361915"/>
                  <a:gd name="connsiteY11" fmla="*/ 865696 h 1154899"/>
                  <a:gd name="connsiteX12" fmla="*/ 1092121 w 1361915"/>
                  <a:gd name="connsiteY12" fmla="*/ 833437 h 1154899"/>
                  <a:gd name="connsiteX13" fmla="*/ 1354083 w 1361915"/>
                  <a:gd name="connsiteY13" fmla="*/ 1050136 h 1154899"/>
                  <a:gd name="connsiteX14" fmla="*/ 1338422 w 1361915"/>
                  <a:gd name="connsiteY14" fmla="*/ 1121419 h 1154899"/>
                  <a:gd name="connsiteX15" fmla="*/ 1271508 w 1361915"/>
                  <a:gd name="connsiteY15" fmla="*/ 1150645 h 1154899"/>
                  <a:gd name="connsiteX16" fmla="*/ 1010257 w 1361915"/>
                  <a:gd name="connsiteY16" fmla="*/ 933946 h 1154899"/>
                  <a:gd name="connsiteX17" fmla="*/ 1092121 w 1361915"/>
                  <a:gd name="connsiteY17" fmla="*/ 833437 h 1154899"/>
                  <a:gd name="connsiteX18" fmla="*/ 872913 w 1361915"/>
                  <a:gd name="connsiteY18" fmla="*/ 811933 h 1154899"/>
                  <a:gd name="connsiteX19" fmla="*/ 836873 w 1361915"/>
                  <a:gd name="connsiteY19" fmla="*/ 838437 h 1154899"/>
                  <a:gd name="connsiteX20" fmla="*/ 848323 w 1361915"/>
                  <a:gd name="connsiteY20" fmla="*/ 832221 h 1154899"/>
                  <a:gd name="connsiteX21" fmla="*/ 487634 w 1361915"/>
                  <a:gd name="connsiteY21" fmla="*/ 807051 h 1154899"/>
                  <a:gd name="connsiteX22" fmla="*/ 518141 w 1361915"/>
                  <a:gd name="connsiteY22" fmla="*/ 832221 h 1154899"/>
                  <a:gd name="connsiteX23" fmla="*/ 532212 w 1361915"/>
                  <a:gd name="connsiteY23" fmla="*/ 839860 h 1154899"/>
                  <a:gd name="connsiteX24" fmla="*/ 126043 w 1361915"/>
                  <a:gd name="connsiteY24" fmla="*/ 801687 h 1154899"/>
                  <a:gd name="connsiteX25" fmla="*/ 185273 w 1361915"/>
                  <a:gd name="connsiteY25" fmla="*/ 849953 h 1154899"/>
                  <a:gd name="connsiteX26" fmla="*/ 188128 w 1361915"/>
                  <a:gd name="connsiteY26" fmla="*/ 849953 h 1154899"/>
                  <a:gd name="connsiteX27" fmla="*/ 246645 w 1361915"/>
                  <a:gd name="connsiteY27" fmla="*/ 801687 h 1154899"/>
                  <a:gd name="connsiteX28" fmla="*/ 327284 w 1361915"/>
                  <a:gd name="connsiteY28" fmla="*/ 814654 h 1154899"/>
                  <a:gd name="connsiteX29" fmla="*/ 372242 w 1361915"/>
                  <a:gd name="connsiteY29" fmla="*/ 880929 h 1154899"/>
                  <a:gd name="connsiteX30" fmla="*/ 367960 w 1361915"/>
                  <a:gd name="connsiteY30" fmla="*/ 887412 h 1154899"/>
                  <a:gd name="connsiteX31" fmla="*/ 4728 w 1361915"/>
                  <a:gd name="connsiteY31" fmla="*/ 887412 h 1154899"/>
                  <a:gd name="connsiteX32" fmla="*/ 446 w 1361915"/>
                  <a:gd name="connsiteY32" fmla="*/ 880929 h 1154899"/>
                  <a:gd name="connsiteX33" fmla="*/ 45404 w 1361915"/>
                  <a:gd name="connsiteY33" fmla="*/ 814654 h 1154899"/>
                  <a:gd name="connsiteX34" fmla="*/ 126043 w 1361915"/>
                  <a:gd name="connsiteY34" fmla="*/ 801687 h 1154899"/>
                  <a:gd name="connsiteX35" fmla="*/ 913823 w 1361915"/>
                  <a:gd name="connsiteY35" fmla="*/ 769744 h 1154899"/>
                  <a:gd name="connsiteX36" fmla="*/ 886668 w 1361915"/>
                  <a:gd name="connsiteY36" fmla="*/ 800584 h 1154899"/>
                  <a:gd name="connsiteX37" fmla="*/ 892023 w 1361915"/>
                  <a:gd name="connsiteY37" fmla="*/ 796166 h 1154899"/>
                  <a:gd name="connsiteX38" fmla="*/ 86332 w 1361915"/>
                  <a:gd name="connsiteY38" fmla="*/ 687387 h 1154899"/>
                  <a:gd name="connsiteX39" fmla="*/ 97086 w 1361915"/>
                  <a:gd name="connsiteY39" fmla="*/ 692394 h 1154899"/>
                  <a:gd name="connsiteX40" fmla="*/ 107123 w 1361915"/>
                  <a:gd name="connsiteY40" fmla="*/ 703840 h 1154899"/>
                  <a:gd name="connsiteX41" fmla="*/ 109274 w 1361915"/>
                  <a:gd name="connsiteY41" fmla="*/ 705986 h 1154899"/>
                  <a:gd name="connsiteX42" fmla="*/ 138668 w 1361915"/>
                  <a:gd name="connsiteY42" fmla="*/ 768222 h 1154899"/>
                  <a:gd name="connsiteX43" fmla="*/ 186703 w 1361915"/>
                  <a:gd name="connsiteY43" fmla="*/ 791829 h 1154899"/>
                  <a:gd name="connsiteX44" fmla="*/ 234020 w 1361915"/>
                  <a:gd name="connsiteY44" fmla="*/ 768222 h 1154899"/>
                  <a:gd name="connsiteX45" fmla="*/ 264132 w 1361915"/>
                  <a:gd name="connsiteY45" fmla="*/ 705986 h 1154899"/>
                  <a:gd name="connsiteX46" fmla="*/ 266283 w 1361915"/>
                  <a:gd name="connsiteY46" fmla="*/ 703840 h 1154899"/>
                  <a:gd name="connsiteX47" fmla="*/ 275603 w 1361915"/>
                  <a:gd name="connsiteY47" fmla="*/ 692394 h 1154899"/>
                  <a:gd name="connsiteX48" fmla="*/ 286357 w 1361915"/>
                  <a:gd name="connsiteY48" fmla="*/ 687387 h 1154899"/>
                  <a:gd name="connsiteX49" fmla="*/ 286357 w 1361915"/>
                  <a:gd name="connsiteY49" fmla="*/ 688102 h 1154899"/>
                  <a:gd name="connsiteX50" fmla="*/ 272018 w 1361915"/>
                  <a:gd name="connsiteY50" fmla="*/ 710278 h 1154899"/>
                  <a:gd name="connsiteX51" fmla="*/ 241907 w 1361915"/>
                  <a:gd name="connsiteY51" fmla="*/ 773230 h 1154899"/>
                  <a:gd name="connsiteX52" fmla="*/ 241907 w 1361915"/>
                  <a:gd name="connsiteY52" fmla="*/ 793260 h 1154899"/>
                  <a:gd name="connsiteX53" fmla="*/ 240473 w 1361915"/>
                  <a:gd name="connsiteY53" fmla="*/ 795406 h 1154899"/>
                  <a:gd name="connsiteX54" fmla="*/ 232587 w 1361915"/>
                  <a:gd name="connsiteY54" fmla="*/ 803275 h 1154899"/>
                  <a:gd name="connsiteX55" fmla="*/ 232587 w 1361915"/>
                  <a:gd name="connsiteY55" fmla="*/ 780383 h 1154899"/>
                  <a:gd name="connsiteX56" fmla="*/ 186703 w 1361915"/>
                  <a:gd name="connsiteY56" fmla="*/ 801129 h 1154899"/>
                  <a:gd name="connsiteX57" fmla="*/ 140102 w 1361915"/>
                  <a:gd name="connsiteY57" fmla="*/ 780383 h 1154899"/>
                  <a:gd name="connsiteX58" fmla="*/ 140102 w 1361915"/>
                  <a:gd name="connsiteY58" fmla="*/ 803275 h 1154899"/>
                  <a:gd name="connsiteX59" fmla="*/ 132216 w 1361915"/>
                  <a:gd name="connsiteY59" fmla="*/ 795406 h 1154899"/>
                  <a:gd name="connsiteX60" fmla="*/ 130782 w 1361915"/>
                  <a:gd name="connsiteY60" fmla="*/ 793260 h 1154899"/>
                  <a:gd name="connsiteX61" fmla="*/ 130782 w 1361915"/>
                  <a:gd name="connsiteY61" fmla="*/ 773230 h 1154899"/>
                  <a:gd name="connsiteX62" fmla="*/ 101387 w 1361915"/>
                  <a:gd name="connsiteY62" fmla="*/ 710278 h 1154899"/>
                  <a:gd name="connsiteX63" fmla="*/ 86332 w 1361915"/>
                  <a:gd name="connsiteY63" fmla="*/ 688102 h 1154899"/>
                  <a:gd name="connsiteX64" fmla="*/ 86332 w 1361915"/>
                  <a:gd name="connsiteY64" fmla="*/ 687387 h 1154899"/>
                  <a:gd name="connsiteX65" fmla="*/ 548294 w 1361915"/>
                  <a:gd name="connsiteY65" fmla="*/ 525462 h 1154899"/>
                  <a:gd name="connsiteX66" fmla="*/ 562581 w 1361915"/>
                  <a:gd name="connsiteY66" fmla="*/ 532581 h 1154899"/>
                  <a:gd name="connsiteX67" fmla="*/ 576154 w 1361915"/>
                  <a:gd name="connsiteY67" fmla="*/ 548242 h 1154899"/>
                  <a:gd name="connsiteX68" fmla="*/ 579012 w 1361915"/>
                  <a:gd name="connsiteY68" fmla="*/ 551090 h 1154899"/>
                  <a:gd name="connsiteX69" fmla="*/ 619731 w 1361915"/>
                  <a:gd name="connsiteY69" fmla="*/ 635804 h 1154899"/>
                  <a:gd name="connsiteX70" fmla="*/ 684025 w 1361915"/>
                  <a:gd name="connsiteY70" fmla="*/ 667838 h 1154899"/>
                  <a:gd name="connsiteX71" fmla="*/ 749034 w 1361915"/>
                  <a:gd name="connsiteY71" fmla="*/ 635804 h 1154899"/>
                  <a:gd name="connsiteX72" fmla="*/ 789753 w 1361915"/>
                  <a:gd name="connsiteY72" fmla="*/ 551090 h 1154899"/>
                  <a:gd name="connsiteX73" fmla="*/ 792610 w 1361915"/>
                  <a:gd name="connsiteY73" fmla="*/ 548242 h 1154899"/>
                  <a:gd name="connsiteX74" fmla="*/ 806184 w 1361915"/>
                  <a:gd name="connsiteY74" fmla="*/ 532581 h 1154899"/>
                  <a:gd name="connsiteX75" fmla="*/ 819757 w 1361915"/>
                  <a:gd name="connsiteY75" fmla="*/ 525462 h 1154899"/>
                  <a:gd name="connsiteX76" fmla="*/ 819757 w 1361915"/>
                  <a:gd name="connsiteY76" fmla="*/ 526174 h 1154899"/>
                  <a:gd name="connsiteX77" fmla="*/ 800469 w 1361915"/>
                  <a:gd name="connsiteY77" fmla="*/ 557497 h 1154899"/>
                  <a:gd name="connsiteX78" fmla="*/ 759749 w 1361915"/>
                  <a:gd name="connsiteY78" fmla="*/ 642923 h 1154899"/>
                  <a:gd name="connsiteX79" fmla="*/ 759749 w 1361915"/>
                  <a:gd name="connsiteY79" fmla="*/ 669974 h 1154899"/>
                  <a:gd name="connsiteX80" fmla="*/ 757606 w 1361915"/>
                  <a:gd name="connsiteY80" fmla="*/ 672822 h 1154899"/>
                  <a:gd name="connsiteX81" fmla="*/ 746890 w 1361915"/>
                  <a:gd name="connsiteY81" fmla="*/ 684212 h 1154899"/>
                  <a:gd name="connsiteX82" fmla="*/ 746890 w 1361915"/>
                  <a:gd name="connsiteY82" fmla="*/ 653601 h 1154899"/>
                  <a:gd name="connsiteX83" fmla="*/ 684025 w 1361915"/>
                  <a:gd name="connsiteY83" fmla="*/ 680652 h 1154899"/>
                  <a:gd name="connsiteX84" fmla="*/ 621875 w 1361915"/>
                  <a:gd name="connsiteY84" fmla="*/ 653601 h 1154899"/>
                  <a:gd name="connsiteX85" fmla="*/ 621875 w 1361915"/>
                  <a:gd name="connsiteY85" fmla="*/ 684212 h 1154899"/>
                  <a:gd name="connsiteX86" fmla="*/ 611159 w 1361915"/>
                  <a:gd name="connsiteY86" fmla="*/ 672822 h 1154899"/>
                  <a:gd name="connsiteX87" fmla="*/ 609016 w 1361915"/>
                  <a:gd name="connsiteY87" fmla="*/ 669974 h 1154899"/>
                  <a:gd name="connsiteX88" fmla="*/ 609016 w 1361915"/>
                  <a:gd name="connsiteY88" fmla="*/ 642923 h 1154899"/>
                  <a:gd name="connsiteX89" fmla="*/ 568296 w 1361915"/>
                  <a:gd name="connsiteY89" fmla="*/ 557497 h 1154899"/>
                  <a:gd name="connsiteX90" fmla="*/ 548294 w 1361915"/>
                  <a:gd name="connsiteY90" fmla="*/ 526886 h 1154899"/>
                  <a:gd name="connsiteX91" fmla="*/ 548294 w 1361915"/>
                  <a:gd name="connsiteY91" fmla="*/ 525462 h 1154899"/>
                  <a:gd name="connsiteX92" fmla="*/ 683232 w 1361915"/>
                  <a:gd name="connsiteY92" fmla="*/ 292100 h 1154899"/>
                  <a:gd name="connsiteX93" fmla="*/ 387957 w 1361915"/>
                  <a:gd name="connsiteY93" fmla="*/ 587375 h 1154899"/>
                  <a:gd name="connsiteX94" fmla="*/ 474441 w 1361915"/>
                  <a:gd name="connsiteY94" fmla="*/ 796166 h 1154899"/>
                  <a:gd name="connsiteX95" fmla="*/ 482979 w 1361915"/>
                  <a:gd name="connsiteY95" fmla="*/ 803210 h 1154899"/>
                  <a:gd name="connsiteX96" fmla="*/ 441932 w 1361915"/>
                  <a:gd name="connsiteY96" fmla="*/ 756491 h 1154899"/>
                  <a:gd name="connsiteX97" fmla="*/ 490973 w 1361915"/>
                  <a:gd name="connsiteY97" fmla="*/ 698833 h 1154899"/>
                  <a:gd name="connsiteX98" fmla="*/ 599006 w 1361915"/>
                  <a:gd name="connsiteY98" fmla="*/ 681037 h 1154899"/>
                  <a:gd name="connsiteX99" fmla="*/ 601139 w 1361915"/>
                  <a:gd name="connsiteY99" fmla="*/ 683172 h 1154899"/>
                  <a:gd name="connsiteX100" fmla="*/ 655711 w 1361915"/>
                  <a:gd name="connsiteY100" fmla="*/ 867459 h 1154899"/>
                  <a:gd name="connsiteX101" fmla="*/ 659192 w 1361915"/>
                  <a:gd name="connsiteY101" fmla="*/ 880227 h 1154899"/>
                  <a:gd name="connsiteX102" fmla="*/ 683232 w 1361915"/>
                  <a:gd name="connsiteY102" fmla="*/ 882650 h 1154899"/>
                  <a:gd name="connsiteX103" fmla="*/ 707315 w 1361915"/>
                  <a:gd name="connsiteY103" fmla="*/ 880222 h 1154899"/>
                  <a:gd name="connsiteX104" fmla="*/ 713179 w 1361915"/>
                  <a:gd name="connsiteY104" fmla="*/ 862054 h 1154899"/>
                  <a:gd name="connsiteX105" fmla="*/ 766791 w 1361915"/>
                  <a:gd name="connsiteY105" fmla="*/ 683172 h 1154899"/>
                  <a:gd name="connsiteX106" fmla="*/ 769637 w 1361915"/>
                  <a:gd name="connsiteY106" fmla="*/ 681037 h 1154899"/>
                  <a:gd name="connsiteX107" fmla="*/ 877040 w 1361915"/>
                  <a:gd name="connsiteY107" fmla="*/ 698833 h 1154899"/>
                  <a:gd name="connsiteX108" fmla="*/ 906381 w 1361915"/>
                  <a:gd name="connsiteY108" fmla="*/ 723569 h 1154899"/>
                  <a:gd name="connsiteX109" fmla="*/ 925789 w 1361915"/>
                  <a:gd name="connsiteY109" fmla="*/ 755241 h 1154899"/>
                  <a:gd name="connsiteX110" fmla="*/ 928078 w 1361915"/>
                  <a:gd name="connsiteY110" fmla="*/ 752466 h 1154899"/>
                  <a:gd name="connsiteX111" fmla="*/ 978507 w 1361915"/>
                  <a:gd name="connsiteY111" fmla="*/ 587375 h 1154899"/>
                  <a:gd name="connsiteX112" fmla="*/ 683232 w 1361915"/>
                  <a:gd name="connsiteY112" fmla="*/ 292100 h 1154899"/>
                  <a:gd name="connsiteX113" fmla="*/ 713838 w 1361915"/>
                  <a:gd name="connsiteY113" fmla="*/ 262422 h 1154899"/>
                  <a:gd name="connsiteX114" fmla="*/ 890362 w 1361915"/>
                  <a:gd name="connsiteY114" fmla="*/ 334836 h 1154899"/>
                  <a:gd name="connsiteX115" fmla="*/ 969565 w 1361915"/>
                  <a:gd name="connsiteY115" fmla="*/ 743009 h 1154899"/>
                  <a:gd name="connsiteX116" fmla="*/ 1055189 w 1361915"/>
                  <a:gd name="connsiteY116" fmla="*/ 813655 h 1154899"/>
                  <a:gd name="connsiteX117" fmla="*/ 1056616 w 1361915"/>
                  <a:gd name="connsiteY117" fmla="*/ 826499 h 1154899"/>
                  <a:gd name="connsiteX118" fmla="*/ 995252 w 1361915"/>
                  <a:gd name="connsiteY118" fmla="*/ 901426 h 1154899"/>
                  <a:gd name="connsiteX119" fmla="*/ 982408 w 1361915"/>
                  <a:gd name="connsiteY119" fmla="*/ 902853 h 1154899"/>
                  <a:gd name="connsiteX120" fmla="*/ 897498 w 1361915"/>
                  <a:gd name="connsiteY120" fmla="*/ 832922 h 1154899"/>
                  <a:gd name="connsiteX121" fmla="*/ 477939 w 1361915"/>
                  <a:gd name="connsiteY121" fmla="*/ 839344 h 1154899"/>
                  <a:gd name="connsiteX122" fmla="*/ 431559 w 1361915"/>
                  <a:gd name="connsiteY122" fmla="*/ 380506 h 1154899"/>
                  <a:gd name="connsiteX123" fmla="*/ 713838 w 1361915"/>
                  <a:gd name="connsiteY123" fmla="*/ 262422 h 1154899"/>
                  <a:gd name="connsiteX124" fmla="*/ 83157 w 1361915"/>
                  <a:gd name="connsiteY124" fmla="*/ 203200 h 1154899"/>
                  <a:gd name="connsiteX125" fmla="*/ 93843 w 1361915"/>
                  <a:gd name="connsiteY125" fmla="*/ 208154 h 1154899"/>
                  <a:gd name="connsiteX126" fmla="*/ 103104 w 1361915"/>
                  <a:gd name="connsiteY126" fmla="*/ 219477 h 1154899"/>
                  <a:gd name="connsiteX127" fmla="*/ 105242 w 1361915"/>
                  <a:gd name="connsiteY127" fmla="*/ 221600 h 1154899"/>
                  <a:gd name="connsiteX128" fmla="*/ 136588 w 1361915"/>
                  <a:gd name="connsiteY128" fmla="*/ 285291 h 1154899"/>
                  <a:gd name="connsiteX129" fmla="*/ 183607 w 1361915"/>
                  <a:gd name="connsiteY129" fmla="*/ 308644 h 1154899"/>
                  <a:gd name="connsiteX130" fmla="*/ 231339 w 1361915"/>
                  <a:gd name="connsiteY130" fmla="*/ 285291 h 1154899"/>
                  <a:gd name="connsiteX131" fmla="*/ 261973 w 1361915"/>
                  <a:gd name="connsiteY131" fmla="*/ 221600 h 1154899"/>
                  <a:gd name="connsiteX132" fmla="*/ 264110 w 1361915"/>
                  <a:gd name="connsiteY132" fmla="*/ 219477 h 1154899"/>
                  <a:gd name="connsiteX133" fmla="*/ 273371 w 1361915"/>
                  <a:gd name="connsiteY133" fmla="*/ 208154 h 1154899"/>
                  <a:gd name="connsiteX134" fmla="*/ 284770 w 1361915"/>
                  <a:gd name="connsiteY134" fmla="*/ 203200 h 1154899"/>
                  <a:gd name="connsiteX135" fmla="*/ 284057 w 1361915"/>
                  <a:gd name="connsiteY135" fmla="*/ 203908 h 1154899"/>
                  <a:gd name="connsiteX136" fmla="*/ 269809 w 1361915"/>
                  <a:gd name="connsiteY136" fmla="*/ 227261 h 1154899"/>
                  <a:gd name="connsiteX137" fmla="*/ 239888 w 1361915"/>
                  <a:gd name="connsiteY137" fmla="*/ 290245 h 1154899"/>
                  <a:gd name="connsiteX138" fmla="*/ 239888 w 1361915"/>
                  <a:gd name="connsiteY138" fmla="*/ 310060 h 1154899"/>
                  <a:gd name="connsiteX139" fmla="*/ 237750 w 1361915"/>
                  <a:gd name="connsiteY139" fmla="*/ 312183 h 1154899"/>
                  <a:gd name="connsiteX140" fmla="*/ 229914 w 1361915"/>
                  <a:gd name="connsiteY140" fmla="*/ 320675 h 1154899"/>
                  <a:gd name="connsiteX141" fmla="*/ 229914 w 1361915"/>
                  <a:gd name="connsiteY141" fmla="*/ 297321 h 1154899"/>
                  <a:gd name="connsiteX142" fmla="*/ 183607 w 1361915"/>
                  <a:gd name="connsiteY142" fmla="*/ 317844 h 1154899"/>
                  <a:gd name="connsiteX143" fmla="*/ 137300 w 1361915"/>
                  <a:gd name="connsiteY143" fmla="*/ 297321 h 1154899"/>
                  <a:gd name="connsiteX144" fmla="*/ 137300 w 1361915"/>
                  <a:gd name="connsiteY144" fmla="*/ 320675 h 1154899"/>
                  <a:gd name="connsiteX145" fmla="*/ 129464 w 1361915"/>
                  <a:gd name="connsiteY145" fmla="*/ 312183 h 1154899"/>
                  <a:gd name="connsiteX146" fmla="*/ 128039 w 1361915"/>
                  <a:gd name="connsiteY146" fmla="*/ 310060 h 1154899"/>
                  <a:gd name="connsiteX147" fmla="*/ 128039 w 1361915"/>
                  <a:gd name="connsiteY147" fmla="*/ 290245 h 1154899"/>
                  <a:gd name="connsiteX148" fmla="*/ 98117 w 1361915"/>
                  <a:gd name="connsiteY148" fmla="*/ 227261 h 1154899"/>
                  <a:gd name="connsiteX149" fmla="*/ 83157 w 1361915"/>
                  <a:gd name="connsiteY149" fmla="*/ 203908 h 1154899"/>
                  <a:gd name="connsiteX150" fmla="*/ 83157 w 1361915"/>
                  <a:gd name="connsiteY150" fmla="*/ 203200 h 1154899"/>
                  <a:gd name="connsiteX151" fmla="*/ 1269890 w 1361915"/>
                  <a:gd name="connsiteY151" fmla="*/ 198437 h 1154899"/>
                  <a:gd name="connsiteX152" fmla="*/ 1269890 w 1361915"/>
                  <a:gd name="connsiteY152" fmla="*/ 199870 h 1154899"/>
                  <a:gd name="connsiteX153" fmla="*/ 1255552 w 1361915"/>
                  <a:gd name="connsiteY153" fmla="*/ 225660 h 1154899"/>
                  <a:gd name="connsiteX154" fmla="*/ 1226874 w 1361915"/>
                  <a:gd name="connsiteY154" fmla="*/ 289421 h 1154899"/>
                  <a:gd name="connsiteX155" fmla="*/ 1226874 w 1361915"/>
                  <a:gd name="connsiteY155" fmla="*/ 328824 h 1154899"/>
                  <a:gd name="connsiteX156" fmla="*/ 1216120 w 1361915"/>
                  <a:gd name="connsiteY156" fmla="*/ 338137 h 1154899"/>
                  <a:gd name="connsiteX157" fmla="*/ 1216120 w 1361915"/>
                  <a:gd name="connsiteY157" fmla="*/ 298734 h 1154899"/>
                  <a:gd name="connsiteX158" fmla="*/ 1170236 w 1361915"/>
                  <a:gd name="connsiteY158" fmla="*/ 320943 h 1154899"/>
                  <a:gd name="connsiteX159" fmla="*/ 1124352 w 1361915"/>
                  <a:gd name="connsiteY159" fmla="*/ 299451 h 1154899"/>
                  <a:gd name="connsiteX160" fmla="*/ 1124352 w 1361915"/>
                  <a:gd name="connsiteY160" fmla="*/ 338137 h 1154899"/>
                  <a:gd name="connsiteX161" fmla="*/ 1113598 w 1361915"/>
                  <a:gd name="connsiteY161" fmla="*/ 329540 h 1154899"/>
                  <a:gd name="connsiteX162" fmla="*/ 1113598 w 1361915"/>
                  <a:gd name="connsiteY162" fmla="*/ 289421 h 1154899"/>
                  <a:gd name="connsiteX163" fmla="*/ 1085638 w 1361915"/>
                  <a:gd name="connsiteY163" fmla="*/ 225660 h 1154899"/>
                  <a:gd name="connsiteX164" fmla="*/ 1070582 w 1361915"/>
                  <a:gd name="connsiteY164" fmla="*/ 200586 h 1154899"/>
                  <a:gd name="connsiteX165" fmla="*/ 1070582 w 1361915"/>
                  <a:gd name="connsiteY165" fmla="*/ 199870 h 1154899"/>
                  <a:gd name="connsiteX166" fmla="*/ 1082770 w 1361915"/>
                  <a:gd name="connsiteY166" fmla="*/ 205601 h 1154899"/>
                  <a:gd name="connsiteX167" fmla="*/ 1092807 w 1361915"/>
                  <a:gd name="connsiteY167" fmla="*/ 217064 h 1154899"/>
                  <a:gd name="connsiteX168" fmla="*/ 1094241 w 1361915"/>
                  <a:gd name="connsiteY168" fmla="*/ 219929 h 1154899"/>
                  <a:gd name="connsiteX169" fmla="*/ 1122919 w 1361915"/>
                  <a:gd name="connsiteY169" fmla="*/ 284406 h 1154899"/>
                  <a:gd name="connsiteX170" fmla="*/ 1170236 w 1361915"/>
                  <a:gd name="connsiteY170" fmla="*/ 310197 h 1154899"/>
                  <a:gd name="connsiteX171" fmla="*/ 1217554 w 1361915"/>
                  <a:gd name="connsiteY171" fmla="*/ 284406 h 1154899"/>
                  <a:gd name="connsiteX172" fmla="*/ 1246231 w 1361915"/>
                  <a:gd name="connsiteY172" fmla="*/ 219929 h 1154899"/>
                  <a:gd name="connsiteX173" fmla="*/ 1248382 w 1361915"/>
                  <a:gd name="connsiteY173" fmla="*/ 217064 h 1154899"/>
                  <a:gd name="connsiteX174" fmla="*/ 1258419 w 1361915"/>
                  <a:gd name="connsiteY174" fmla="*/ 204168 h 1154899"/>
                  <a:gd name="connsiteX175" fmla="*/ 1269890 w 1361915"/>
                  <a:gd name="connsiteY175" fmla="*/ 198437 h 1154899"/>
                  <a:gd name="connsiteX176" fmla="*/ 603584 w 1361915"/>
                  <a:gd name="connsiteY176" fmla="*/ 114300 h 1154899"/>
                  <a:gd name="connsiteX177" fmla="*/ 661964 w 1361915"/>
                  <a:gd name="connsiteY177" fmla="*/ 162877 h 1154899"/>
                  <a:gd name="connsiteX178" fmla="*/ 664812 w 1361915"/>
                  <a:gd name="connsiteY178" fmla="*/ 162877 h 1154899"/>
                  <a:gd name="connsiteX179" fmla="*/ 724616 w 1361915"/>
                  <a:gd name="connsiteY179" fmla="*/ 114300 h 1154899"/>
                  <a:gd name="connsiteX180" fmla="*/ 804355 w 1361915"/>
                  <a:gd name="connsiteY180" fmla="*/ 128587 h 1154899"/>
                  <a:gd name="connsiteX181" fmla="*/ 849208 w 1361915"/>
                  <a:gd name="connsiteY181" fmla="*/ 194310 h 1154899"/>
                  <a:gd name="connsiteX182" fmla="*/ 844936 w 1361915"/>
                  <a:gd name="connsiteY182" fmla="*/ 200025 h 1154899"/>
                  <a:gd name="connsiteX183" fmla="*/ 482552 w 1361915"/>
                  <a:gd name="connsiteY183" fmla="*/ 200025 h 1154899"/>
                  <a:gd name="connsiteX184" fmla="*/ 478281 w 1361915"/>
                  <a:gd name="connsiteY184" fmla="*/ 194310 h 1154899"/>
                  <a:gd name="connsiteX185" fmla="*/ 523134 w 1361915"/>
                  <a:gd name="connsiteY185" fmla="*/ 128587 h 1154899"/>
                  <a:gd name="connsiteX186" fmla="*/ 603584 w 1361915"/>
                  <a:gd name="connsiteY186" fmla="*/ 114300 h 1154899"/>
                  <a:gd name="connsiteX187" fmla="*/ 1170238 w 1361915"/>
                  <a:gd name="connsiteY187" fmla="*/ 50800 h 1154899"/>
                  <a:gd name="connsiteX188" fmla="*/ 1273782 w 1361915"/>
                  <a:gd name="connsiteY188" fmla="*/ 148062 h 1154899"/>
                  <a:gd name="connsiteX189" fmla="*/ 1270212 w 1361915"/>
                  <a:gd name="connsiteY189" fmla="*/ 180244 h 1154899"/>
                  <a:gd name="connsiteX190" fmla="*/ 1259500 w 1361915"/>
                  <a:gd name="connsiteY190" fmla="*/ 194548 h 1154899"/>
                  <a:gd name="connsiteX191" fmla="*/ 1258072 w 1361915"/>
                  <a:gd name="connsiteY191" fmla="*/ 195263 h 1154899"/>
                  <a:gd name="connsiteX192" fmla="*/ 1253073 w 1361915"/>
                  <a:gd name="connsiteY192" fmla="*/ 195263 h 1154899"/>
                  <a:gd name="connsiteX193" fmla="*/ 1251645 w 1361915"/>
                  <a:gd name="connsiteY193" fmla="*/ 193117 h 1154899"/>
                  <a:gd name="connsiteX194" fmla="*/ 1250217 w 1361915"/>
                  <a:gd name="connsiteY194" fmla="*/ 128038 h 1154899"/>
                  <a:gd name="connsiteX195" fmla="*/ 1246646 w 1361915"/>
                  <a:gd name="connsiteY195" fmla="*/ 126607 h 1154899"/>
                  <a:gd name="connsiteX196" fmla="*/ 1195945 w 1361915"/>
                  <a:gd name="connsiteY196" fmla="*/ 133759 h 1154899"/>
                  <a:gd name="connsiteX197" fmla="*/ 1153813 w 1361915"/>
                  <a:gd name="connsiteY197" fmla="*/ 138765 h 1154899"/>
                  <a:gd name="connsiteX198" fmla="*/ 1151671 w 1361915"/>
                  <a:gd name="connsiteY198" fmla="*/ 135904 h 1154899"/>
                  <a:gd name="connsiteX199" fmla="*/ 1156670 w 1361915"/>
                  <a:gd name="connsiteY199" fmla="*/ 126607 h 1154899"/>
                  <a:gd name="connsiteX200" fmla="*/ 1153813 w 1361915"/>
                  <a:gd name="connsiteY200" fmla="*/ 123747 h 1154899"/>
                  <a:gd name="connsiteX201" fmla="*/ 1114538 w 1361915"/>
                  <a:gd name="connsiteY201" fmla="*/ 146632 h 1154899"/>
                  <a:gd name="connsiteX202" fmla="*/ 1111681 w 1361915"/>
                  <a:gd name="connsiteY202" fmla="*/ 145201 h 1154899"/>
                  <a:gd name="connsiteX203" fmla="*/ 1113824 w 1361915"/>
                  <a:gd name="connsiteY203" fmla="*/ 130898 h 1154899"/>
                  <a:gd name="connsiteX204" fmla="*/ 1110967 w 1361915"/>
                  <a:gd name="connsiteY204" fmla="*/ 129468 h 1154899"/>
                  <a:gd name="connsiteX205" fmla="*/ 1088116 w 1361915"/>
                  <a:gd name="connsiteY205" fmla="*/ 191687 h 1154899"/>
                  <a:gd name="connsiteX206" fmla="*/ 1085974 w 1361915"/>
                  <a:gd name="connsiteY206" fmla="*/ 193833 h 1154899"/>
                  <a:gd name="connsiteX207" fmla="*/ 1083117 w 1361915"/>
                  <a:gd name="connsiteY207" fmla="*/ 193117 h 1154899"/>
                  <a:gd name="connsiteX208" fmla="*/ 1080975 w 1361915"/>
                  <a:gd name="connsiteY208" fmla="*/ 192402 h 1154899"/>
                  <a:gd name="connsiteX209" fmla="*/ 1071692 w 1361915"/>
                  <a:gd name="connsiteY209" fmla="*/ 180960 h 1154899"/>
                  <a:gd name="connsiteX210" fmla="*/ 1067407 w 1361915"/>
                  <a:gd name="connsiteY210" fmla="*/ 148062 h 1154899"/>
                  <a:gd name="connsiteX211" fmla="*/ 1170238 w 1361915"/>
                  <a:gd name="connsiteY211" fmla="*/ 50800 h 1154899"/>
                  <a:gd name="connsiteX212" fmla="*/ 182020 w 1361915"/>
                  <a:gd name="connsiteY212" fmla="*/ 50800 h 1154899"/>
                  <a:gd name="connsiteX213" fmla="*/ 281595 w 1361915"/>
                  <a:gd name="connsiteY213" fmla="*/ 153598 h 1154899"/>
                  <a:gd name="connsiteX214" fmla="*/ 277327 w 1361915"/>
                  <a:gd name="connsiteY214" fmla="*/ 188823 h 1154899"/>
                  <a:gd name="connsiteX215" fmla="*/ 277327 w 1361915"/>
                  <a:gd name="connsiteY215" fmla="*/ 189541 h 1154899"/>
                  <a:gd name="connsiteX216" fmla="*/ 267370 w 1361915"/>
                  <a:gd name="connsiteY216" fmla="*/ 201762 h 1154899"/>
                  <a:gd name="connsiteX217" fmla="*/ 260969 w 1361915"/>
                  <a:gd name="connsiteY217" fmla="*/ 201762 h 1154899"/>
                  <a:gd name="connsiteX218" fmla="*/ 236786 w 1361915"/>
                  <a:gd name="connsiteY218" fmla="*/ 132751 h 1154899"/>
                  <a:gd name="connsiteX219" fmla="*/ 106628 w 1361915"/>
                  <a:gd name="connsiteY219" fmla="*/ 127719 h 1154899"/>
                  <a:gd name="connsiteX220" fmla="*/ 105205 w 1361915"/>
                  <a:gd name="connsiteY220" fmla="*/ 203200 h 1154899"/>
                  <a:gd name="connsiteX221" fmla="*/ 98093 w 1361915"/>
                  <a:gd name="connsiteY221" fmla="*/ 203200 h 1154899"/>
                  <a:gd name="connsiteX222" fmla="*/ 87424 w 1361915"/>
                  <a:gd name="connsiteY222" fmla="*/ 188104 h 1154899"/>
                  <a:gd name="connsiteX223" fmla="*/ 83868 w 1361915"/>
                  <a:gd name="connsiteY223" fmla="*/ 153598 h 1154899"/>
                  <a:gd name="connsiteX224" fmla="*/ 182020 w 1361915"/>
                  <a:gd name="connsiteY224" fmla="*/ 50800 h 1154899"/>
                  <a:gd name="connsiteX225" fmla="*/ 762607 w 1361915"/>
                  <a:gd name="connsiteY225" fmla="*/ 0 h 1154899"/>
                  <a:gd name="connsiteX226" fmla="*/ 762607 w 1361915"/>
                  <a:gd name="connsiteY226" fmla="*/ 720 h 1154899"/>
                  <a:gd name="connsiteX227" fmla="*/ 748394 w 1361915"/>
                  <a:gd name="connsiteY227" fmla="*/ 23753 h 1154899"/>
                  <a:gd name="connsiteX228" fmla="*/ 718546 w 1361915"/>
                  <a:gd name="connsiteY228" fmla="*/ 86376 h 1154899"/>
                  <a:gd name="connsiteX229" fmla="*/ 718546 w 1361915"/>
                  <a:gd name="connsiteY229" fmla="*/ 106530 h 1154899"/>
                  <a:gd name="connsiteX230" fmla="*/ 717125 w 1361915"/>
                  <a:gd name="connsiteY230" fmla="*/ 108690 h 1154899"/>
                  <a:gd name="connsiteX231" fmla="*/ 709308 w 1361915"/>
                  <a:gd name="connsiteY231" fmla="*/ 115888 h 1154899"/>
                  <a:gd name="connsiteX232" fmla="*/ 709308 w 1361915"/>
                  <a:gd name="connsiteY232" fmla="*/ 93574 h 1154899"/>
                  <a:gd name="connsiteX233" fmla="*/ 663826 w 1361915"/>
                  <a:gd name="connsiteY233" fmla="*/ 113728 h 1154899"/>
                  <a:gd name="connsiteX234" fmla="*/ 618345 w 1361915"/>
                  <a:gd name="connsiteY234" fmla="*/ 93574 h 1154899"/>
                  <a:gd name="connsiteX235" fmla="*/ 618345 w 1361915"/>
                  <a:gd name="connsiteY235" fmla="*/ 115888 h 1154899"/>
                  <a:gd name="connsiteX236" fmla="*/ 610528 w 1361915"/>
                  <a:gd name="connsiteY236" fmla="*/ 108690 h 1154899"/>
                  <a:gd name="connsiteX237" fmla="*/ 609106 w 1361915"/>
                  <a:gd name="connsiteY237" fmla="*/ 106530 h 1154899"/>
                  <a:gd name="connsiteX238" fmla="*/ 609106 w 1361915"/>
                  <a:gd name="connsiteY238" fmla="*/ 86376 h 1154899"/>
                  <a:gd name="connsiteX239" fmla="*/ 579970 w 1361915"/>
                  <a:gd name="connsiteY239" fmla="*/ 23753 h 1154899"/>
                  <a:gd name="connsiteX240" fmla="*/ 565757 w 1361915"/>
                  <a:gd name="connsiteY240" fmla="*/ 1439 h 1154899"/>
                  <a:gd name="connsiteX241" fmla="*/ 565757 w 1361915"/>
                  <a:gd name="connsiteY241" fmla="*/ 720 h 1154899"/>
                  <a:gd name="connsiteX242" fmla="*/ 575706 w 1361915"/>
                  <a:gd name="connsiteY242" fmla="*/ 5758 h 1154899"/>
                  <a:gd name="connsiteX243" fmla="*/ 585655 w 1361915"/>
                  <a:gd name="connsiteY243" fmla="*/ 15836 h 1154899"/>
                  <a:gd name="connsiteX244" fmla="*/ 587787 w 1361915"/>
                  <a:gd name="connsiteY244" fmla="*/ 18715 h 1154899"/>
                  <a:gd name="connsiteX245" fmla="*/ 616924 w 1361915"/>
                  <a:gd name="connsiteY245" fmla="*/ 81337 h 1154899"/>
                  <a:gd name="connsiteX246" fmla="*/ 663826 w 1361915"/>
                  <a:gd name="connsiteY246" fmla="*/ 104371 h 1154899"/>
                  <a:gd name="connsiteX247" fmla="*/ 710729 w 1361915"/>
                  <a:gd name="connsiteY247" fmla="*/ 81337 h 1154899"/>
                  <a:gd name="connsiteX248" fmla="*/ 739866 w 1361915"/>
                  <a:gd name="connsiteY248" fmla="*/ 18715 h 1154899"/>
                  <a:gd name="connsiteX249" fmla="*/ 741998 w 1361915"/>
                  <a:gd name="connsiteY249" fmla="*/ 15836 h 1154899"/>
                  <a:gd name="connsiteX250" fmla="*/ 751947 w 1361915"/>
                  <a:gd name="connsiteY250" fmla="*/ 5758 h 1154899"/>
                  <a:gd name="connsiteX251" fmla="*/ 762607 w 1361915"/>
                  <a:gd name="connsiteY251" fmla="*/ 0 h 11548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</a:cxnLst>
                <a:rect l="l" t="t" r="r" b="b"/>
                <a:pathLst>
                  <a:path w="1361915" h="1154899">
                    <a:moveTo>
                      <a:pt x="764282" y="869964"/>
                    </a:moveTo>
                    <a:lnTo>
                      <a:pt x="715772" y="879370"/>
                    </a:lnTo>
                    <a:lnTo>
                      <a:pt x="742740" y="876651"/>
                    </a:lnTo>
                    <a:close/>
                    <a:moveTo>
                      <a:pt x="601567" y="869773"/>
                    </a:moveTo>
                    <a:lnTo>
                      <a:pt x="623724" y="876651"/>
                    </a:lnTo>
                    <a:lnTo>
                      <a:pt x="650806" y="879381"/>
                    </a:lnTo>
                    <a:close/>
                    <a:moveTo>
                      <a:pt x="822128" y="846440"/>
                    </a:moveTo>
                    <a:lnTo>
                      <a:pt x="779592" y="865212"/>
                    </a:lnTo>
                    <a:lnTo>
                      <a:pt x="798166" y="859446"/>
                    </a:lnTo>
                    <a:close/>
                    <a:moveTo>
                      <a:pt x="541785" y="845056"/>
                    </a:moveTo>
                    <a:lnTo>
                      <a:pt x="568297" y="859446"/>
                    </a:lnTo>
                    <a:lnTo>
                      <a:pt x="588431" y="865696"/>
                    </a:lnTo>
                    <a:close/>
                    <a:moveTo>
                      <a:pt x="1092121" y="833437"/>
                    </a:moveTo>
                    <a:cubicBezTo>
                      <a:pt x="1354083" y="1050136"/>
                      <a:pt x="1354083" y="1050136"/>
                      <a:pt x="1354083" y="1050136"/>
                    </a:cubicBezTo>
                    <a:cubicBezTo>
                      <a:pt x="1369032" y="1062255"/>
                      <a:pt x="1361914" y="1094332"/>
                      <a:pt x="1338422" y="1121419"/>
                    </a:cubicBezTo>
                    <a:cubicBezTo>
                      <a:pt x="1316355" y="1149932"/>
                      <a:pt x="1286457" y="1162050"/>
                      <a:pt x="1271508" y="1150645"/>
                    </a:cubicBezTo>
                    <a:cubicBezTo>
                      <a:pt x="1010257" y="933946"/>
                      <a:pt x="1010257" y="933946"/>
                      <a:pt x="1010257" y="933946"/>
                    </a:cubicBezTo>
                    <a:cubicBezTo>
                      <a:pt x="1092121" y="833437"/>
                      <a:pt x="1092121" y="833437"/>
                      <a:pt x="1092121" y="833437"/>
                    </a:cubicBezTo>
                    <a:close/>
                    <a:moveTo>
                      <a:pt x="872913" y="811933"/>
                    </a:moveTo>
                    <a:lnTo>
                      <a:pt x="836873" y="838437"/>
                    </a:lnTo>
                    <a:lnTo>
                      <a:pt x="848323" y="832221"/>
                    </a:lnTo>
                    <a:close/>
                    <a:moveTo>
                      <a:pt x="487634" y="807051"/>
                    </a:moveTo>
                    <a:lnTo>
                      <a:pt x="518141" y="832221"/>
                    </a:lnTo>
                    <a:lnTo>
                      <a:pt x="532212" y="839860"/>
                    </a:lnTo>
                    <a:close/>
                    <a:moveTo>
                      <a:pt x="126043" y="801687"/>
                    </a:moveTo>
                    <a:cubicBezTo>
                      <a:pt x="126043" y="801687"/>
                      <a:pt x="166006" y="834825"/>
                      <a:pt x="185273" y="849953"/>
                    </a:cubicBezTo>
                    <a:cubicBezTo>
                      <a:pt x="185987" y="850673"/>
                      <a:pt x="187414" y="850673"/>
                      <a:pt x="188128" y="849953"/>
                    </a:cubicBezTo>
                    <a:cubicBezTo>
                      <a:pt x="213818" y="829061"/>
                      <a:pt x="246645" y="801687"/>
                      <a:pt x="246645" y="801687"/>
                    </a:cubicBezTo>
                    <a:cubicBezTo>
                      <a:pt x="246645" y="801687"/>
                      <a:pt x="299452" y="801687"/>
                      <a:pt x="327284" y="814654"/>
                    </a:cubicBezTo>
                    <a:cubicBezTo>
                      <a:pt x="350833" y="825459"/>
                      <a:pt x="366533" y="865801"/>
                      <a:pt x="372242" y="880929"/>
                    </a:cubicBezTo>
                    <a:cubicBezTo>
                      <a:pt x="373669" y="883810"/>
                      <a:pt x="371528" y="887412"/>
                      <a:pt x="367960" y="887412"/>
                    </a:cubicBezTo>
                    <a:cubicBezTo>
                      <a:pt x="367960" y="887412"/>
                      <a:pt x="367960" y="887412"/>
                      <a:pt x="4728" y="887412"/>
                    </a:cubicBezTo>
                    <a:cubicBezTo>
                      <a:pt x="1160" y="887412"/>
                      <a:pt x="-981" y="883810"/>
                      <a:pt x="446" y="880929"/>
                    </a:cubicBezTo>
                    <a:cubicBezTo>
                      <a:pt x="6155" y="865801"/>
                      <a:pt x="22568" y="825459"/>
                      <a:pt x="45404" y="814654"/>
                    </a:cubicBezTo>
                    <a:cubicBezTo>
                      <a:pt x="73949" y="801687"/>
                      <a:pt x="126043" y="801687"/>
                      <a:pt x="126043" y="801687"/>
                    </a:cubicBezTo>
                    <a:close/>
                    <a:moveTo>
                      <a:pt x="913823" y="769744"/>
                    </a:moveTo>
                    <a:lnTo>
                      <a:pt x="886668" y="800584"/>
                    </a:lnTo>
                    <a:lnTo>
                      <a:pt x="892023" y="796166"/>
                    </a:lnTo>
                    <a:close/>
                    <a:moveTo>
                      <a:pt x="86332" y="687387"/>
                    </a:moveTo>
                    <a:cubicBezTo>
                      <a:pt x="86332" y="687387"/>
                      <a:pt x="86332" y="687387"/>
                      <a:pt x="97086" y="692394"/>
                    </a:cubicBezTo>
                    <a:cubicBezTo>
                      <a:pt x="98520" y="696686"/>
                      <a:pt x="101387" y="700979"/>
                      <a:pt x="107123" y="703840"/>
                    </a:cubicBezTo>
                    <a:cubicBezTo>
                      <a:pt x="107840" y="703840"/>
                      <a:pt x="108557" y="705271"/>
                      <a:pt x="109274" y="705986"/>
                    </a:cubicBezTo>
                    <a:cubicBezTo>
                      <a:pt x="117877" y="727447"/>
                      <a:pt x="132933" y="763215"/>
                      <a:pt x="138668" y="768222"/>
                    </a:cubicBezTo>
                    <a:cubicBezTo>
                      <a:pt x="147988" y="776807"/>
                      <a:pt x="173081" y="791829"/>
                      <a:pt x="186703" y="791829"/>
                    </a:cubicBezTo>
                    <a:cubicBezTo>
                      <a:pt x="199608" y="791829"/>
                      <a:pt x="224700" y="776807"/>
                      <a:pt x="234020" y="768222"/>
                    </a:cubicBezTo>
                    <a:cubicBezTo>
                      <a:pt x="239756" y="763215"/>
                      <a:pt x="255529" y="727447"/>
                      <a:pt x="264132" y="705986"/>
                    </a:cubicBezTo>
                    <a:cubicBezTo>
                      <a:pt x="264849" y="705271"/>
                      <a:pt x="265566" y="703840"/>
                      <a:pt x="266283" y="703840"/>
                    </a:cubicBezTo>
                    <a:cubicBezTo>
                      <a:pt x="271301" y="700979"/>
                      <a:pt x="274169" y="696686"/>
                      <a:pt x="275603" y="692394"/>
                    </a:cubicBezTo>
                    <a:cubicBezTo>
                      <a:pt x="275603" y="692394"/>
                      <a:pt x="275603" y="692394"/>
                      <a:pt x="286357" y="687387"/>
                    </a:cubicBezTo>
                    <a:cubicBezTo>
                      <a:pt x="286357" y="687387"/>
                      <a:pt x="286357" y="687387"/>
                      <a:pt x="286357" y="688102"/>
                    </a:cubicBezTo>
                    <a:cubicBezTo>
                      <a:pt x="285640" y="692394"/>
                      <a:pt x="282772" y="704555"/>
                      <a:pt x="272018" y="710278"/>
                    </a:cubicBezTo>
                    <a:cubicBezTo>
                      <a:pt x="267716" y="721724"/>
                      <a:pt x="251227" y="761784"/>
                      <a:pt x="241907" y="773230"/>
                    </a:cubicBezTo>
                    <a:cubicBezTo>
                      <a:pt x="241907" y="773230"/>
                      <a:pt x="241907" y="773230"/>
                      <a:pt x="241907" y="793260"/>
                    </a:cubicBezTo>
                    <a:cubicBezTo>
                      <a:pt x="241907" y="793260"/>
                      <a:pt x="241907" y="793260"/>
                      <a:pt x="240473" y="795406"/>
                    </a:cubicBezTo>
                    <a:cubicBezTo>
                      <a:pt x="240473" y="795406"/>
                      <a:pt x="237605" y="798983"/>
                      <a:pt x="232587" y="803275"/>
                    </a:cubicBezTo>
                    <a:cubicBezTo>
                      <a:pt x="232587" y="803275"/>
                      <a:pt x="232587" y="803275"/>
                      <a:pt x="232587" y="780383"/>
                    </a:cubicBezTo>
                    <a:cubicBezTo>
                      <a:pt x="220399" y="789683"/>
                      <a:pt x="199608" y="801129"/>
                      <a:pt x="186703" y="801129"/>
                    </a:cubicBezTo>
                    <a:cubicBezTo>
                      <a:pt x="173081" y="801129"/>
                      <a:pt x="153007" y="789683"/>
                      <a:pt x="140102" y="780383"/>
                    </a:cubicBezTo>
                    <a:cubicBezTo>
                      <a:pt x="140102" y="780383"/>
                      <a:pt x="140102" y="780383"/>
                      <a:pt x="140102" y="803275"/>
                    </a:cubicBezTo>
                    <a:cubicBezTo>
                      <a:pt x="135083" y="798983"/>
                      <a:pt x="132933" y="795406"/>
                      <a:pt x="132216" y="795406"/>
                    </a:cubicBezTo>
                    <a:cubicBezTo>
                      <a:pt x="132216" y="795406"/>
                      <a:pt x="132216" y="795406"/>
                      <a:pt x="130782" y="793260"/>
                    </a:cubicBezTo>
                    <a:cubicBezTo>
                      <a:pt x="130782" y="793260"/>
                      <a:pt x="130782" y="793260"/>
                      <a:pt x="130782" y="773230"/>
                    </a:cubicBezTo>
                    <a:cubicBezTo>
                      <a:pt x="122179" y="761784"/>
                      <a:pt x="105689" y="721724"/>
                      <a:pt x="101387" y="710278"/>
                    </a:cubicBezTo>
                    <a:cubicBezTo>
                      <a:pt x="90633" y="704555"/>
                      <a:pt x="87766" y="694540"/>
                      <a:pt x="86332" y="688102"/>
                    </a:cubicBezTo>
                    <a:cubicBezTo>
                      <a:pt x="86332" y="688102"/>
                      <a:pt x="86332" y="688102"/>
                      <a:pt x="86332" y="687387"/>
                    </a:cubicBezTo>
                    <a:close/>
                    <a:moveTo>
                      <a:pt x="548294" y="525462"/>
                    </a:moveTo>
                    <a:cubicBezTo>
                      <a:pt x="548294" y="525462"/>
                      <a:pt x="548294" y="525462"/>
                      <a:pt x="562581" y="532581"/>
                    </a:cubicBezTo>
                    <a:cubicBezTo>
                      <a:pt x="564724" y="538276"/>
                      <a:pt x="569011" y="543971"/>
                      <a:pt x="576154" y="548242"/>
                    </a:cubicBezTo>
                    <a:cubicBezTo>
                      <a:pt x="577583" y="548954"/>
                      <a:pt x="578298" y="549666"/>
                      <a:pt x="579012" y="551090"/>
                    </a:cubicBezTo>
                    <a:cubicBezTo>
                      <a:pt x="590442" y="580277"/>
                      <a:pt x="611873" y="628685"/>
                      <a:pt x="619731" y="635804"/>
                    </a:cubicBezTo>
                    <a:cubicBezTo>
                      <a:pt x="632590" y="647194"/>
                      <a:pt x="665451" y="667838"/>
                      <a:pt x="684025" y="667838"/>
                    </a:cubicBezTo>
                    <a:cubicBezTo>
                      <a:pt x="702599" y="667838"/>
                      <a:pt x="736175" y="647194"/>
                      <a:pt x="749034" y="635804"/>
                    </a:cubicBezTo>
                    <a:cubicBezTo>
                      <a:pt x="756892" y="628685"/>
                      <a:pt x="777609" y="580277"/>
                      <a:pt x="789753" y="551090"/>
                    </a:cubicBezTo>
                    <a:cubicBezTo>
                      <a:pt x="789753" y="549666"/>
                      <a:pt x="791182" y="548954"/>
                      <a:pt x="792610" y="548242"/>
                    </a:cubicBezTo>
                    <a:cubicBezTo>
                      <a:pt x="799754" y="543971"/>
                      <a:pt x="804040" y="538276"/>
                      <a:pt x="806184" y="532581"/>
                    </a:cubicBezTo>
                    <a:cubicBezTo>
                      <a:pt x="806184" y="532581"/>
                      <a:pt x="806184" y="532581"/>
                      <a:pt x="819757" y="525462"/>
                    </a:cubicBezTo>
                    <a:cubicBezTo>
                      <a:pt x="819757" y="526174"/>
                      <a:pt x="819757" y="526174"/>
                      <a:pt x="819757" y="526174"/>
                    </a:cubicBezTo>
                    <a:cubicBezTo>
                      <a:pt x="819042" y="533293"/>
                      <a:pt x="814756" y="548954"/>
                      <a:pt x="800469" y="557497"/>
                    </a:cubicBezTo>
                    <a:cubicBezTo>
                      <a:pt x="794039" y="573158"/>
                      <a:pt x="771894" y="627261"/>
                      <a:pt x="759749" y="642923"/>
                    </a:cubicBezTo>
                    <a:cubicBezTo>
                      <a:pt x="759749" y="642923"/>
                      <a:pt x="759749" y="642923"/>
                      <a:pt x="759749" y="669974"/>
                    </a:cubicBezTo>
                    <a:cubicBezTo>
                      <a:pt x="759749" y="669974"/>
                      <a:pt x="759749" y="669974"/>
                      <a:pt x="757606" y="672822"/>
                    </a:cubicBezTo>
                    <a:cubicBezTo>
                      <a:pt x="757606" y="673534"/>
                      <a:pt x="754034" y="677805"/>
                      <a:pt x="746890" y="684212"/>
                    </a:cubicBezTo>
                    <a:cubicBezTo>
                      <a:pt x="746890" y="684212"/>
                      <a:pt x="746890" y="684212"/>
                      <a:pt x="746890" y="653601"/>
                    </a:cubicBezTo>
                    <a:cubicBezTo>
                      <a:pt x="729745" y="664991"/>
                      <a:pt x="703313" y="680652"/>
                      <a:pt x="684025" y="680652"/>
                    </a:cubicBezTo>
                    <a:cubicBezTo>
                      <a:pt x="665451" y="680652"/>
                      <a:pt x="638305" y="664991"/>
                      <a:pt x="621875" y="653601"/>
                    </a:cubicBezTo>
                    <a:cubicBezTo>
                      <a:pt x="621875" y="653601"/>
                      <a:pt x="621875" y="653601"/>
                      <a:pt x="621875" y="684212"/>
                    </a:cubicBezTo>
                    <a:cubicBezTo>
                      <a:pt x="614731" y="678517"/>
                      <a:pt x="611159" y="673534"/>
                      <a:pt x="611159" y="672822"/>
                    </a:cubicBezTo>
                    <a:cubicBezTo>
                      <a:pt x="611159" y="672822"/>
                      <a:pt x="611159" y="672822"/>
                      <a:pt x="609016" y="669974"/>
                    </a:cubicBezTo>
                    <a:cubicBezTo>
                      <a:pt x="609016" y="669974"/>
                      <a:pt x="609016" y="669974"/>
                      <a:pt x="609016" y="642923"/>
                    </a:cubicBezTo>
                    <a:cubicBezTo>
                      <a:pt x="596871" y="627261"/>
                      <a:pt x="574726" y="573158"/>
                      <a:pt x="568296" y="557497"/>
                    </a:cubicBezTo>
                    <a:cubicBezTo>
                      <a:pt x="554009" y="549666"/>
                      <a:pt x="549723" y="535428"/>
                      <a:pt x="548294" y="526886"/>
                    </a:cubicBezTo>
                    <a:cubicBezTo>
                      <a:pt x="548294" y="526886"/>
                      <a:pt x="548294" y="526174"/>
                      <a:pt x="548294" y="525462"/>
                    </a:cubicBezTo>
                    <a:close/>
                    <a:moveTo>
                      <a:pt x="683232" y="292100"/>
                    </a:moveTo>
                    <a:cubicBezTo>
                      <a:pt x="520156" y="292100"/>
                      <a:pt x="387957" y="424299"/>
                      <a:pt x="387957" y="587375"/>
                    </a:cubicBezTo>
                    <a:cubicBezTo>
                      <a:pt x="387957" y="668913"/>
                      <a:pt x="421007" y="742732"/>
                      <a:pt x="474441" y="796166"/>
                    </a:cubicBezTo>
                    <a:lnTo>
                      <a:pt x="482979" y="803210"/>
                    </a:lnTo>
                    <a:lnTo>
                      <a:pt x="441932" y="756491"/>
                    </a:lnTo>
                    <a:cubicBezTo>
                      <a:pt x="452593" y="735136"/>
                      <a:pt x="468229" y="709510"/>
                      <a:pt x="490973" y="698833"/>
                    </a:cubicBezTo>
                    <a:cubicBezTo>
                      <a:pt x="525800" y="683172"/>
                      <a:pt x="586213" y="681037"/>
                      <a:pt x="599006" y="681037"/>
                    </a:cubicBezTo>
                    <a:cubicBezTo>
                      <a:pt x="599717" y="681037"/>
                      <a:pt x="600428" y="681749"/>
                      <a:pt x="601139" y="683172"/>
                    </a:cubicBezTo>
                    <a:cubicBezTo>
                      <a:pt x="629924" y="777134"/>
                      <a:pt x="648314" y="841066"/>
                      <a:pt x="655711" y="867459"/>
                    </a:cubicBezTo>
                    <a:lnTo>
                      <a:pt x="659192" y="880227"/>
                    </a:lnTo>
                    <a:lnTo>
                      <a:pt x="683232" y="882650"/>
                    </a:lnTo>
                    <a:lnTo>
                      <a:pt x="707315" y="880222"/>
                    </a:lnTo>
                    <a:lnTo>
                      <a:pt x="713179" y="862054"/>
                    </a:lnTo>
                    <a:cubicBezTo>
                      <a:pt x="721447" y="835461"/>
                      <a:pt x="736918" y="783541"/>
                      <a:pt x="766791" y="683172"/>
                    </a:cubicBezTo>
                    <a:cubicBezTo>
                      <a:pt x="766791" y="681749"/>
                      <a:pt x="768214" y="681037"/>
                      <a:pt x="769637" y="681037"/>
                    </a:cubicBezTo>
                    <a:cubicBezTo>
                      <a:pt x="782440" y="681037"/>
                      <a:pt x="842899" y="683172"/>
                      <a:pt x="877040" y="698833"/>
                    </a:cubicBezTo>
                    <a:cubicBezTo>
                      <a:pt x="888421" y="704172"/>
                      <a:pt x="898201" y="713247"/>
                      <a:pt x="906381" y="723569"/>
                    </a:cubicBezTo>
                    <a:lnTo>
                      <a:pt x="925789" y="755241"/>
                    </a:lnTo>
                    <a:lnTo>
                      <a:pt x="928078" y="752466"/>
                    </a:lnTo>
                    <a:cubicBezTo>
                      <a:pt x="959916" y="705340"/>
                      <a:pt x="978507" y="648528"/>
                      <a:pt x="978507" y="587375"/>
                    </a:cubicBezTo>
                    <a:cubicBezTo>
                      <a:pt x="978507" y="424299"/>
                      <a:pt x="846308" y="292100"/>
                      <a:pt x="683232" y="292100"/>
                    </a:cubicBezTo>
                    <a:close/>
                    <a:moveTo>
                      <a:pt x="713838" y="262422"/>
                    </a:moveTo>
                    <a:cubicBezTo>
                      <a:pt x="776342" y="268172"/>
                      <a:pt x="837918" y="292021"/>
                      <a:pt x="890362" y="334836"/>
                    </a:cubicBezTo>
                    <a:cubicBezTo>
                      <a:pt x="1013090" y="435452"/>
                      <a:pt x="1043772" y="608141"/>
                      <a:pt x="969565" y="743009"/>
                    </a:cubicBezTo>
                    <a:cubicBezTo>
                      <a:pt x="1055189" y="813655"/>
                      <a:pt x="1055189" y="813655"/>
                      <a:pt x="1055189" y="813655"/>
                    </a:cubicBezTo>
                    <a:cubicBezTo>
                      <a:pt x="1058757" y="817223"/>
                      <a:pt x="1059470" y="822931"/>
                      <a:pt x="1056616" y="826499"/>
                    </a:cubicBezTo>
                    <a:cubicBezTo>
                      <a:pt x="995252" y="901426"/>
                      <a:pt x="995252" y="901426"/>
                      <a:pt x="995252" y="901426"/>
                    </a:cubicBezTo>
                    <a:cubicBezTo>
                      <a:pt x="992398" y="904994"/>
                      <a:pt x="986690" y="905708"/>
                      <a:pt x="982408" y="902853"/>
                    </a:cubicBezTo>
                    <a:cubicBezTo>
                      <a:pt x="897498" y="832922"/>
                      <a:pt x="897498" y="832922"/>
                      <a:pt x="897498" y="832922"/>
                    </a:cubicBezTo>
                    <a:cubicBezTo>
                      <a:pt x="780478" y="934965"/>
                      <a:pt x="602094" y="941387"/>
                      <a:pt x="477939" y="839344"/>
                    </a:cubicBezTo>
                    <a:cubicBezTo>
                      <a:pt x="338800" y="725170"/>
                      <a:pt x="318107" y="520370"/>
                      <a:pt x="431559" y="380506"/>
                    </a:cubicBezTo>
                    <a:cubicBezTo>
                      <a:pt x="502913" y="293537"/>
                      <a:pt x="609664" y="252841"/>
                      <a:pt x="713838" y="262422"/>
                    </a:cubicBezTo>
                    <a:close/>
                    <a:moveTo>
                      <a:pt x="83157" y="203200"/>
                    </a:moveTo>
                    <a:cubicBezTo>
                      <a:pt x="83157" y="203200"/>
                      <a:pt x="83157" y="203200"/>
                      <a:pt x="93843" y="208154"/>
                    </a:cubicBezTo>
                    <a:cubicBezTo>
                      <a:pt x="95980" y="212400"/>
                      <a:pt x="98830" y="216646"/>
                      <a:pt x="103104" y="219477"/>
                    </a:cubicBezTo>
                    <a:cubicBezTo>
                      <a:pt x="104529" y="220184"/>
                      <a:pt x="105242" y="220892"/>
                      <a:pt x="105242" y="221600"/>
                    </a:cubicBezTo>
                    <a:cubicBezTo>
                      <a:pt x="114503" y="242830"/>
                      <a:pt x="130176" y="279629"/>
                      <a:pt x="136588" y="285291"/>
                    </a:cubicBezTo>
                    <a:cubicBezTo>
                      <a:pt x="145849" y="293075"/>
                      <a:pt x="170071" y="308644"/>
                      <a:pt x="183607" y="308644"/>
                    </a:cubicBezTo>
                    <a:cubicBezTo>
                      <a:pt x="197855" y="308644"/>
                      <a:pt x="222077" y="293075"/>
                      <a:pt x="231339" y="285291"/>
                    </a:cubicBezTo>
                    <a:cubicBezTo>
                      <a:pt x="237750" y="279629"/>
                      <a:pt x="253424" y="242830"/>
                      <a:pt x="261973" y="221600"/>
                    </a:cubicBezTo>
                    <a:cubicBezTo>
                      <a:pt x="262685" y="220892"/>
                      <a:pt x="263397" y="220184"/>
                      <a:pt x="264110" y="219477"/>
                    </a:cubicBezTo>
                    <a:cubicBezTo>
                      <a:pt x="269097" y="216646"/>
                      <a:pt x="271946" y="212400"/>
                      <a:pt x="273371" y="208154"/>
                    </a:cubicBezTo>
                    <a:cubicBezTo>
                      <a:pt x="273371" y="208154"/>
                      <a:pt x="273371" y="208154"/>
                      <a:pt x="284770" y="203200"/>
                    </a:cubicBezTo>
                    <a:cubicBezTo>
                      <a:pt x="284770" y="203200"/>
                      <a:pt x="284770" y="203200"/>
                      <a:pt x="284057" y="203908"/>
                    </a:cubicBezTo>
                    <a:cubicBezTo>
                      <a:pt x="283345" y="208861"/>
                      <a:pt x="280495" y="220184"/>
                      <a:pt x="269809" y="227261"/>
                    </a:cubicBezTo>
                    <a:cubicBezTo>
                      <a:pt x="264822" y="238584"/>
                      <a:pt x="249149" y="278214"/>
                      <a:pt x="239888" y="290245"/>
                    </a:cubicBezTo>
                    <a:cubicBezTo>
                      <a:pt x="239888" y="290245"/>
                      <a:pt x="239888" y="290245"/>
                      <a:pt x="239888" y="310060"/>
                    </a:cubicBezTo>
                    <a:cubicBezTo>
                      <a:pt x="239888" y="310060"/>
                      <a:pt x="239888" y="310060"/>
                      <a:pt x="237750" y="312183"/>
                    </a:cubicBezTo>
                    <a:cubicBezTo>
                      <a:pt x="237750" y="312890"/>
                      <a:pt x="234901" y="316429"/>
                      <a:pt x="229914" y="320675"/>
                    </a:cubicBezTo>
                    <a:cubicBezTo>
                      <a:pt x="229914" y="320675"/>
                      <a:pt x="229914" y="320675"/>
                      <a:pt x="229914" y="297321"/>
                    </a:cubicBezTo>
                    <a:cubicBezTo>
                      <a:pt x="217803" y="306521"/>
                      <a:pt x="197855" y="317844"/>
                      <a:pt x="183607" y="317844"/>
                    </a:cubicBezTo>
                    <a:cubicBezTo>
                      <a:pt x="170071" y="317844"/>
                      <a:pt x="150124" y="306521"/>
                      <a:pt x="137300" y="297321"/>
                    </a:cubicBezTo>
                    <a:cubicBezTo>
                      <a:pt x="137300" y="297321"/>
                      <a:pt x="137300" y="297321"/>
                      <a:pt x="137300" y="320675"/>
                    </a:cubicBezTo>
                    <a:cubicBezTo>
                      <a:pt x="132313" y="316429"/>
                      <a:pt x="130176" y="312890"/>
                      <a:pt x="129464" y="312183"/>
                    </a:cubicBezTo>
                    <a:cubicBezTo>
                      <a:pt x="129464" y="312183"/>
                      <a:pt x="129464" y="312183"/>
                      <a:pt x="128039" y="310060"/>
                    </a:cubicBezTo>
                    <a:cubicBezTo>
                      <a:pt x="128039" y="310060"/>
                      <a:pt x="128039" y="310060"/>
                      <a:pt x="128039" y="290245"/>
                    </a:cubicBezTo>
                    <a:cubicBezTo>
                      <a:pt x="118777" y="278214"/>
                      <a:pt x="102392" y="238584"/>
                      <a:pt x="98117" y="227261"/>
                    </a:cubicBezTo>
                    <a:cubicBezTo>
                      <a:pt x="87431" y="220892"/>
                      <a:pt x="84582" y="210277"/>
                      <a:pt x="83157" y="203908"/>
                    </a:cubicBezTo>
                    <a:cubicBezTo>
                      <a:pt x="83157" y="203908"/>
                      <a:pt x="83157" y="203908"/>
                      <a:pt x="83157" y="203200"/>
                    </a:cubicBezTo>
                    <a:close/>
                    <a:moveTo>
                      <a:pt x="1269890" y="198437"/>
                    </a:moveTo>
                    <a:cubicBezTo>
                      <a:pt x="1270607" y="199153"/>
                      <a:pt x="1270607" y="199870"/>
                      <a:pt x="1269890" y="199870"/>
                    </a:cubicBezTo>
                    <a:cubicBezTo>
                      <a:pt x="1269173" y="205601"/>
                      <a:pt x="1266306" y="217780"/>
                      <a:pt x="1255552" y="225660"/>
                    </a:cubicBezTo>
                    <a:cubicBezTo>
                      <a:pt x="1250533" y="237839"/>
                      <a:pt x="1236911" y="277242"/>
                      <a:pt x="1226874" y="289421"/>
                    </a:cubicBezTo>
                    <a:cubicBezTo>
                      <a:pt x="1226874" y="289421"/>
                      <a:pt x="1226874" y="289421"/>
                      <a:pt x="1226874" y="328824"/>
                    </a:cubicBezTo>
                    <a:cubicBezTo>
                      <a:pt x="1224006" y="332406"/>
                      <a:pt x="1220422" y="335271"/>
                      <a:pt x="1216120" y="338137"/>
                    </a:cubicBezTo>
                    <a:cubicBezTo>
                      <a:pt x="1216120" y="338137"/>
                      <a:pt x="1216120" y="338137"/>
                      <a:pt x="1216120" y="298734"/>
                    </a:cubicBezTo>
                    <a:cubicBezTo>
                      <a:pt x="1203215" y="308764"/>
                      <a:pt x="1183858" y="320943"/>
                      <a:pt x="1170236" y="320943"/>
                    </a:cubicBezTo>
                    <a:cubicBezTo>
                      <a:pt x="1156615" y="320943"/>
                      <a:pt x="1137257" y="308764"/>
                      <a:pt x="1124352" y="299451"/>
                    </a:cubicBezTo>
                    <a:cubicBezTo>
                      <a:pt x="1124352" y="299451"/>
                      <a:pt x="1124352" y="299451"/>
                      <a:pt x="1124352" y="338137"/>
                    </a:cubicBezTo>
                    <a:cubicBezTo>
                      <a:pt x="1120051" y="335271"/>
                      <a:pt x="1117183" y="332406"/>
                      <a:pt x="1113598" y="329540"/>
                    </a:cubicBezTo>
                    <a:cubicBezTo>
                      <a:pt x="1113598" y="329540"/>
                      <a:pt x="1113598" y="329540"/>
                      <a:pt x="1113598" y="289421"/>
                    </a:cubicBezTo>
                    <a:cubicBezTo>
                      <a:pt x="1104278" y="277242"/>
                      <a:pt x="1089940" y="237839"/>
                      <a:pt x="1085638" y="225660"/>
                    </a:cubicBezTo>
                    <a:cubicBezTo>
                      <a:pt x="1074884" y="218496"/>
                      <a:pt x="1072016" y="207034"/>
                      <a:pt x="1070582" y="200586"/>
                    </a:cubicBezTo>
                    <a:cubicBezTo>
                      <a:pt x="1070582" y="200586"/>
                      <a:pt x="1070582" y="200586"/>
                      <a:pt x="1070582" y="199870"/>
                    </a:cubicBezTo>
                    <a:cubicBezTo>
                      <a:pt x="1070582" y="199870"/>
                      <a:pt x="1070582" y="199870"/>
                      <a:pt x="1082770" y="205601"/>
                    </a:cubicBezTo>
                    <a:cubicBezTo>
                      <a:pt x="1084204" y="209899"/>
                      <a:pt x="1087072" y="214198"/>
                      <a:pt x="1092807" y="217064"/>
                    </a:cubicBezTo>
                    <a:cubicBezTo>
                      <a:pt x="1093524" y="217780"/>
                      <a:pt x="1093524" y="218496"/>
                      <a:pt x="1094241" y="219929"/>
                    </a:cubicBezTo>
                    <a:cubicBezTo>
                      <a:pt x="1102127" y="242138"/>
                      <a:pt x="1117183" y="278675"/>
                      <a:pt x="1122919" y="284406"/>
                    </a:cubicBezTo>
                    <a:cubicBezTo>
                      <a:pt x="1132239" y="293003"/>
                      <a:pt x="1157331" y="310197"/>
                      <a:pt x="1170236" y="310197"/>
                    </a:cubicBezTo>
                    <a:cubicBezTo>
                      <a:pt x="1183858" y="310197"/>
                      <a:pt x="1208234" y="293003"/>
                      <a:pt x="1217554" y="284406"/>
                    </a:cubicBezTo>
                    <a:cubicBezTo>
                      <a:pt x="1224006" y="278675"/>
                      <a:pt x="1238345" y="242138"/>
                      <a:pt x="1246231" y="219929"/>
                    </a:cubicBezTo>
                    <a:cubicBezTo>
                      <a:pt x="1246948" y="218496"/>
                      <a:pt x="1247665" y="217780"/>
                      <a:pt x="1248382" y="217064"/>
                    </a:cubicBezTo>
                    <a:cubicBezTo>
                      <a:pt x="1254118" y="213481"/>
                      <a:pt x="1256985" y="209183"/>
                      <a:pt x="1258419" y="204168"/>
                    </a:cubicBezTo>
                    <a:cubicBezTo>
                      <a:pt x="1258419" y="204168"/>
                      <a:pt x="1258419" y="204168"/>
                      <a:pt x="1269890" y="198437"/>
                    </a:cubicBezTo>
                    <a:close/>
                    <a:moveTo>
                      <a:pt x="603584" y="114300"/>
                    </a:moveTo>
                    <a:cubicBezTo>
                      <a:pt x="603584" y="114300"/>
                      <a:pt x="643454" y="147875"/>
                      <a:pt x="661964" y="162877"/>
                    </a:cubicBezTo>
                    <a:cubicBezTo>
                      <a:pt x="662676" y="163592"/>
                      <a:pt x="664100" y="163592"/>
                      <a:pt x="664812" y="162877"/>
                    </a:cubicBezTo>
                    <a:cubicBezTo>
                      <a:pt x="690442" y="142875"/>
                      <a:pt x="724616" y="114300"/>
                      <a:pt x="724616" y="114300"/>
                    </a:cubicBezTo>
                    <a:cubicBezTo>
                      <a:pt x="724616" y="114300"/>
                      <a:pt x="775877" y="115014"/>
                      <a:pt x="804355" y="128587"/>
                    </a:cubicBezTo>
                    <a:cubicBezTo>
                      <a:pt x="827137" y="139303"/>
                      <a:pt x="843512" y="179308"/>
                      <a:pt x="849208" y="194310"/>
                    </a:cubicBezTo>
                    <a:cubicBezTo>
                      <a:pt x="849920" y="197167"/>
                      <a:pt x="847784" y="200025"/>
                      <a:pt x="844936" y="200025"/>
                    </a:cubicBezTo>
                    <a:cubicBezTo>
                      <a:pt x="844936" y="200025"/>
                      <a:pt x="844936" y="200025"/>
                      <a:pt x="482552" y="200025"/>
                    </a:cubicBezTo>
                    <a:cubicBezTo>
                      <a:pt x="478993" y="200025"/>
                      <a:pt x="476857" y="197167"/>
                      <a:pt x="478281" y="194310"/>
                    </a:cubicBezTo>
                    <a:cubicBezTo>
                      <a:pt x="483976" y="179308"/>
                      <a:pt x="500351" y="139303"/>
                      <a:pt x="523134" y="128587"/>
                    </a:cubicBezTo>
                    <a:cubicBezTo>
                      <a:pt x="550900" y="115014"/>
                      <a:pt x="603584" y="114300"/>
                      <a:pt x="603584" y="114300"/>
                    </a:cubicBezTo>
                    <a:close/>
                    <a:moveTo>
                      <a:pt x="1170238" y="50800"/>
                    </a:moveTo>
                    <a:cubicBezTo>
                      <a:pt x="1228794" y="50800"/>
                      <a:pt x="1273782" y="93710"/>
                      <a:pt x="1273782" y="148062"/>
                    </a:cubicBezTo>
                    <a:cubicBezTo>
                      <a:pt x="1273782" y="159505"/>
                      <a:pt x="1273782" y="170232"/>
                      <a:pt x="1270212" y="180244"/>
                    </a:cubicBezTo>
                    <a:cubicBezTo>
                      <a:pt x="1269498" y="180244"/>
                      <a:pt x="1268069" y="185251"/>
                      <a:pt x="1259500" y="194548"/>
                    </a:cubicBezTo>
                    <a:cubicBezTo>
                      <a:pt x="1259500" y="195263"/>
                      <a:pt x="1258786" y="195263"/>
                      <a:pt x="1258072" y="195263"/>
                    </a:cubicBezTo>
                    <a:cubicBezTo>
                      <a:pt x="1258072" y="195263"/>
                      <a:pt x="1258072" y="195263"/>
                      <a:pt x="1253073" y="195263"/>
                    </a:cubicBezTo>
                    <a:cubicBezTo>
                      <a:pt x="1252359" y="195263"/>
                      <a:pt x="1251645" y="194548"/>
                      <a:pt x="1251645" y="193117"/>
                    </a:cubicBezTo>
                    <a:cubicBezTo>
                      <a:pt x="1251645" y="188826"/>
                      <a:pt x="1250931" y="174523"/>
                      <a:pt x="1250217" y="128038"/>
                    </a:cubicBezTo>
                    <a:cubicBezTo>
                      <a:pt x="1250217" y="126607"/>
                      <a:pt x="1248075" y="125177"/>
                      <a:pt x="1246646" y="126607"/>
                    </a:cubicBezTo>
                    <a:cubicBezTo>
                      <a:pt x="1232364" y="137335"/>
                      <a:pt x="1199516" y="134474"/>
                      <a:pt x="1195945" y="133759"/>
                    </a:cubicBezTo>
                    <a:cubicBezTo>
                      <a:pt x="1195945" y="133759"/>
                      <a:pt x="1195945" y="133759"/>
                      <a:pt x="1153813" y="138765"/>
                    </a:cubicBezTo>
                    <a:cubicBezTo>
                      <a:pt x="1151671" y="138765"/>
                      <a:pt x="1150243" y="137335"/>
                      <a:pt x="1151671" y="135904"/>
                    </a:cubicBezTo>
                    <a:cubicBezTo>
                      <a:pt x="1153813" y="133044"/>
                      <a:pt x="1155242" y="129468"/>
                      <a:pt x="1156670" y="126607"/>
                    </a:cubicBezTo>
                    <a:cubicBezTo>
                      <a:pt x="1157384" y="124462"/>
                      <a:pt x="1155242" y="123031"/>
                      <a:pt x="1153813" y="123747"/>
                    </a:cubicBezTo>
                    <a:cubicBezTo>
                      <a:pt x="1141674" y="133044"/>
                      <a:pt x="1121679" y="143056"/>
                      <a:pt x="1114538" y="146632"/>
                    </a:cubicBezTo>
                    <a:cubicBezTo>
                      <a:pt x="1113110" y="148062"/>
                      <a:pt x="1110967" y="146632"/>
                      <a:pt x="1111681" y="145201"/>
                    </a:cubicBezTo>
                    <a:cubicBezTo>
                      <a:pt x="1111681" y="145201"/>
                      <a:pt x="1111681" y="145201"/>
                      <a:pt x="1113824" y="130898"/>
                    </a:cubicBezTo>
                    <a:cubicBezTo>
                      <a:pt x="1113824" y="129468"/>
                      <a:pt x="1112396" y="128753"/>
                      <a:pt x="1110967" y="129468"/>
                    </a:cubicBezTo>
                    <a:cubicBezTo>
                      <a:pt x="1086688" y="139480"/>
                      <a:pt x="1088116" y="181675"/>
                      <a:pt x="1088116" y="191687"/>
                    </a:cubicBezTo>
                    <a:cubicBezTo>
                      <a:pt x="1088116" y="193117"/>
                      <a:pt x="1087402" y="193833"/>
                      <a:pt x="1085974" y="193833"/>
                    </a:cubicBezTo>
                    <a:cubicBezTo>
                      <a:pt x="1085974" y="193833"/>
                      <a:pt x="1085974" y="193833"/>
                      <a:pt x="1083117" y="193117"/>
                    </a:cubicBezTo>
                    <a:cubicBezTo>
                      <a:pt x="1082403" y="193117"/>
                      <a:pt x="1080975" y="193117"/>
                      <a:pt x="1080975" y="192402"/>
                    </a:cubicBezTo>
                    <a:cubicBezTo>
                      <a:pt x="1080261" y="190972"/>
                      <a:pt x="1078119" y="187396"/>
                      <a:pt x="1071692" y="180960"/>
                    </a:cubicBezTo>
                    <a:cubicBezTo>
                      <a:pt x="1067407" y="170232"/>
                      <a:pt x="1067407" y="159505"/>
                      <a:pt x="1067407" y="148062"/>
                    </a:cubicBezTo>
                    <a:cubicBezTo>
                      <a:pt x="1067407" y="93710"/>
                      <a:pt x="1112396" y="50800"/>
                      <a:pt x="1170238" y="50800"/>
                    </a:cubicBezTo>
                    <a:close/>
                    <a:moveTo>
                      <a:pt x="182020" y="50800"/>
                    </a:moveTo>
                    <a:cubicBezTo>
                      <a:pt x="238209" y="50800"/>
                      <a:pt x="281595" y="96807"/>
                      <a:pt x="281595" y="153598"/>
                    </a:cubicBezTo>
                    <a:cubicBezTo>
                      <a:pt x="281595" y="165819"/>
                      <a:pt x="281595" y="178039"/>
                      <a:pt x="277327" y="188823"/>
                    </a:cubicBezTo>
                    <a:cubicBezTo>
                      <a:pt x="277327" y="189541"/>
                      <a:pt x="277327" y="189541"/>
                      <a:pt x="277327" y="189541"/>
                    </a:cubicBezTo>
                    <a:cubicBezTo>
                      <a:pt x="267370" y="197449"/>
                      <a:pt x="267370" y="201762"/>
                      <a:pt x="267370" y="201762"/>
                    </a:cubicBezTo>
                    <a:cubicBezTo>
                      <a:pt x="260969" y="201762"/>
                      <a:pt x="260969" y="201762"/>
                      <a:pt x="260969" y="201762"/>
                    </a:cubicBezTo>
                    <a:cubicBezTo>
                      <a:pt x="260969" y="201762"/>
                      <a:pt x="265947" y="142096"/>
                      <a:pt x="236786" y="132751"/>
                    </a:cubicBezTo>
                    <a:cubicBezTo>
                      <a:pt x="236786" y="132751"/>
                      <a:pt x="118008" y="185947"/>
                      <a:pt x="106628" y="127719"/>
                    </a:cubicBezTo>
                    <a:cubicBezTo>
                      <a:pt x="105205" y="199606"/>
                      <a:pt x="105205" y="203200"/>
                      <a:pt x="105205" y="203200"/>
                    </a:cubicBezTo>
                    <a:cubicBezTo>
                      <a:pt x="98093" y="203200"/>
                      <a:pt x="98093" y="203200"/>
                      <a:pt x="98093" y="203200"/>
                    </a:cubicBezTo>
                    <a:cubicBezTo>
                      <a:pt x="89558" y="192417"/>
                      <a:pt x="87424" y="188104"/>
                      <a:pt x="87424" y="188104"/>
                    </a:cubicBezTo>
                    <a:cubicBezTo>
                      <a:pt x="83157" y="177321"/>
                      <a:pt x="83868" y="165100"/>
                      <a:pt x="83868" y="153598"/>
                    </a:cubicBezTo>
                    <a:cubicBezTo>
                      <a:pt x="83868" y="96807"/>
                      <a:pt x="126543" y="50800"/>
                      <a:pt x="182020" y="50800"/>
                    </a:cubicBezTo>
                    <a:close/>
                    <a:moveTo>
                      <a:pt x="762607" y="0"/>
                    </a:moveTo>
                    <a:cubicBezTo>
                      <a:pt x="762607" y="720"/>
                      <a:pt x="762607" y="720"/>
                      <a:pt x="762607" y="720"/>
                    </a:cubicBezTo>
                    <a:cubicBezTo>
                      <a:pt x="761896" y="5758"/>
                      <a:pt x="759054" y="17275"/>
                      <a:pt x="748394" y="23753"/>
                    </a:cubicBezTo>
                    <a:cubicBezTo>
                      <a:pt x="743419" y="35270"/>
                      <a:pt x="727074" y="74139"/>
                      <a:pt x="718546" y="86376"/>
                    </a:cubicBezTo>
                    <a:cubicBezTo>
                      <a:pt x="718546" y="86376"/>
                      <a:pt x="718546" y="86376"/>
                      <a:pt x="718546" y="106530"/>
                    </a:cubicBezTo>
                    <a:cubicBezTo>
                      <a:pt x="718546" y="106530"/>
                      <a:pt x="718546" y="106530"/>
                      <a:pt x="717125" y="108690"/>
                    </a:cubicBezTo>
                    <a:cubicBezTo>
                      <a:pt x="717125" y="108690"/>
                      <a:pt x="714283" y="112289"/>
                      <a:pt x="709308" y="115888"/>
                    </a:cubicBezTo>
                    <a:cubicBezTo>
                      <a:pt x="709308" y="115888"/>
                      <a:pt x="709308" y="115888"/>
                      <a:pt x="709308" y="93574"/>
                    </a:cubicBezTo>
                    <a:cubicBezTo>
                      <a:pt x="697227" y="102931"/>
                      <a:pt x="677329" y="113728"/>
                      <a:pt x="663826" y="113728"/>
                    </a:cubicBezTo>
                    <a:cubicBezTo>
                      <a:pt x="650324" y="113728"/>
                      <a:pt x="631137" y="102931"/>
                      <a:pt x="618345" y="93574"/>
                    </a:cubicBezTo>
                    <a:cubicBezTo>
                      <a:pt x="618345" y="93574"/>
                      <a:pt x="618345" y="93574"/>
                      <a:pt x="618345" y="115888"/>
                    </a:cubicBezTo>
                    <a:cubicBezTo>
                      <a:pt x="613370" y="112289"/>
                      <a:pt x="611238" y="108690"/>
                      <a:pt x="610528" y="108690"/>
                    </a:cubicBezTo>
                    <a:cubicBezTo>
                      <a:pt x="610528" y="108690"/>
                      <a:pt x="610528" y="108690"/>
                      <a:pt x="609106" y="106530"/>
                    </a:cubicBezTo>
                    <a:cubicBezTo>
                      <a:pt x="609106" y="106530"/>
                      <a:pt x="609106" y="106530"/>
                      <a:pt x="609106" y="86376"/>
                    </a:cubicBezTo>
                    <a:cubicBezTo>
                      <a:pt x="600579" y="74139"/>
                      <a:pt x="584234" y="35270"/>
                      <a:pt x="579970" y="23753"/>
                    </a:cubicBezTo>
                    <a:cubicBezTo>
                      <a:pt x="569310" y="17275"/>
                      <a:pt x="567178" y="7198"/>
                      <a:pt x="565757" y="1439"/>
                    </a:cubicBezTo>
                    <a:cubicBezTo>
                      <a:pt x="565757" y="720"/>
                      <a:pt x="565757" y="720"/>
                      <a:pt x="565757" y="720"/>
                    </a:cubicBezTo>
                    <a:cubicBezTo>
                      <a:pt x="565757" y="720"/>
                      <a:pt x="565757" y="720"/>
                      <a:pt x="575706" y="5758"/>
                    </a:cubicBezTo>
                    <a:cubicBezTo>
                      <a:pt x="577127" y="9357"/>
                      <a:pt x="579970" y="13676"/>
                      <a:pt x="585655" y="15836"/>
                    </a:cubicBezTo>
                    <a:cubicBezTo>
                      <a:pt x="586366" y="16555"/>
                      <a:pt x="587076" y="17275"/>
                      <a:pt x="587787" y="18715"/>
                    </a:cubicBezTo>
                    <a:cubicBezTo>
                      <a:pt x="596315" y="39589"/>
                      <a:pt x="611238" y="75579"/>
                      <a:pt x="616924" y="81337"/>
                    </a:cubicBezTo>
                    <a:cubicBezTo>
                      <a:pt x="626873" y="89255"/>
                      <a:pt x="650324" y="104371"/>
                      <a:pt x="663826" y="104371"/>
                    </a:cubicBezTo>
                    <a:cubicBezTo>
                      <a:pt x="677329" y="104371"/>
                      <a:pt x="701491" y="89255"/>
                      <a:pt x="710729" y="81337"/>
                    </a:cubicBezTo>
                    <a:cubicBezTo>
                      <a:pt x="716415" y="75579"/>
                      <a:pt x="731338" y="39589"/>
                      <a:pt x="739866" y="18715"/>
                    </a:cubicBezTo>
                    <a:cubicBezTo>
                      <a:pt x="740577" y="17275"/>
                      <a:pt x="741287" y="16555"/>
                      <a:pt x="741998" y="15836"/>
                    </a:cubicBezTo>
                    <a:cubicBezTo>
                      <a:pt x="747683" y="13676"/>
                      <a:pt x="750526" y="9357"/>
                      <a:pt x="751947" y="5758"/>
                    </a:cubicBezTo>
                    <a:cubicBezTo>
                      <a:pt x="751947" y="5758"/>
                      <a:pt x="751947" y="5758"/>
                      <a:pt x="762607" y="0"/>
                    </a:cubicBezTo>
                    <a:close/>
                  </a:path>
                </a:pathLst>
              </a:custGeom>
              <a:solidFill>
                <a:srgbClr val="283B85">
                  <a:lumMod val="100000"/>
                </a:srgbClr>
              </a:solidFill>
              <a:ln>
                <a:noFill/>
              </a:ln>
            </p:spPr>
            <p:txBody>
              <a:bodyPr vert="horz" wrap="square" lIns="68665" tIns="34332" rIns="68665" bIns="34332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1" name="Freeform 243"/>
              <p:cNvSpPr>
                <a:spLocks/>
              </p:cNvSpPr>
              <p:nvPr/>
            </p:nvSpPr>
            <p:spPr bwMode="auto">
              <a:xfrm>
                <a:off x="5411182" y="2776303"/>
                <a:ext cx="1346806" cy="1031875"/>
              </a:xfrm>
              <a:custGeom>
                <a:avLst/>
                <a:gdLst>
                  <a:gd name="connsiteX0" fmla="*/ 690731 w 1346806"/>
                  <a:gd name="connsiteY0" fmla="*/ 858837 h 1031875"/>
                  <a:gd name="connsiteX1" fmla="*/ 712842 w 1346806"/>
                  <a:gd name="connsiteY1" fmla="*/ 863127 h 1031875"/>
                  <a:gd name="connsiteX2" fmla="*/ 714268 w 1346806"/>
                  <a:gd name="connsiteY2" fmla="*/ 868133 h 1031875"/>
                  <a:gd name="connsiteX3" fmla="*/ 700003 w 1346806"/>
                  <a:gd name="connsiteY3" fmla="*/ 903169 h 1031875"/>
                  <a:gd name="connsiteX4" fmla="*/ 700003 w 1346806"/>
                  <a:gd name="connsiteY4" fmla="*/ 906029 h 1031875"/>
                  <a:gd name="connsiteX5" fmla="*/ 712842 w 1346806"/>
                  <a:gd name="connsiteY5" fmla="*/ 1031160 h 1031875"/>
                  <a:gd name="connsiteX6" fmla="*/ 690018 w 1346806"/>
                  <a:gd name="connsiteY6" fmla="*/ 1031875 h 1031875"/>
                  <a:gd name="connsiteX7" fmla="*/ 667908 w 1346806"/>
                  <a:gd name="connsiteY7" fmla="*/ 1031160 h 1031875"/>
                  <a:gd name="connsiteX8" fmla="*/ 680746 w 1346806"/>
                  <a:gd name="connsiteY8" fmla="*/ 906029 h 1031875"/>
                  <a:gd name="connsiteX9" fmla="*/ 680746 w 1346806"/>
                  <a:gd name="connsiteY9" fmla="*/ 903169 h 1031875"/>
                  <a:gd name="connsiteX10" fmla="*/ 666481 w 1346806"/>
                  <a:gd name="connsiteY10" fmla="*/ 868133 h 1031875"/>
                  <a:gd name="connsiteX11" fmla="*/ 667908 w 1346806"/>
                  <a:gd name="connsiteY11" fmla="*/ 863127 h 1031875"/>
                  <a:gd name="connsiteX12" fmla="*/ 690731 w 1346806"/>
                  <a:gd name="connsiteY12" fmla="*/ 858837 h 1031875"/>
                  <a:gd name="connsiteX13" fmla="*/ 193051 w 1346806"/>
                  <a:gd name="connsiteY13" fmla="*/ 687387 h 1031875"/>
                  <a:gd name="connsiteX14" fmla="*/ 291118 w 1346806"/>
                  <a:gd name="connsiteY14" fmla="*/ 786871 h 1031875"/>
                  <a:gd name="connsiteX15" fmla="*/ 285391 w 1346806"/>
                  <a:gd name="connsiteY15" fmla="*/ 827375 h 1031875"/>
                  <a:gd name="connsiteX16" fmla="*/ 247453 w 1346806"/>
                  <a:gd name="connsiteY16" fmla="*/ 767685 h 1031875"/>
                  <a:gd name="connsiteX17" fmla="*/ 246021 w 1346806"/>
                  <a:gd name="connsiteY17" fmla="*/ 767685 h 1031875"/>
                  <a:gd name="connsiteX18" fmla="*/ 117174 w 1346806"/>
                  <a:gd name="connsiteY18" fmla="*/ 835902 h 1031875"/>
                  <a:gd name="connsiteX19" fmla="*/ 116458 w 1346806"/>
                  <a:gd name="connsiteY19" fmla="*/ 835902 h 1031875"/>
                  <a:gd name="connsiteX20" fmla="*/ 110016 w 1346806"/>
                  <a:gd name="connsiteY20" fmla="*/ 835902 h 1031875"/>
                  <a:gd name="connsiteX21" fmla="*/ 108584 w 1346806"/>
                  <a:gd name="connsiteY21" fmla="*/ 835191 h 1031875"/>
                  <a:gd name="connsiteX22" fmla="*/ 97847 w 1346806"/>
                  <a:gd name="connsiteY22" fmla="*/ 820269 h 1031875"/>
                  <a:gd name="connsiteX23" fmla="*/ 94268 w 1346806"/>
                  <a:gd name="connsiteY23" fmla="*/ 786871 h 1031875"/>
                  <a:gd name="connsiteX24" fmla="*/ 193051 w 1346806"/>
                  <a:gd name="connsiteY24" fmla="*/ 687387 h 1031875"/>
                  <a:gd name="connsiteX25" fmla="*/ 1104654 w 1346806"/>
                  <a:gd name="connsiteY25" fmla="*/ 476250 h 1031875"/>
                  <a:gd name="connsiteX26" fmla="*/ 1177300 w 1346806"/>
                  <a:gd name="connsiteY26" fmla="*/ 510194 h 1031875"/>
                  <a:gd name="connsiteX27" fmla="*/ 1247809 w 1346806"/>
                  <a:gd name="connsiteY27" fmla="*/ 476250 h 1031875"/>
                  <a:gd name="connsiteX28" fmla="*/ 1346806 w 1346806"/>
                  <a:gd name="connsiteY28" fmla="*/ 546966 h 1031875"/>
                  <a:gd name="connsiteX29" fmla="*/ 1346806 w 1346806"/>
                  <a:gd name="connsiteY29" fmla="*/ 548381 h 1031875"/>
                  <a:gd name="connsiteX30" fmla="*/ 1341821 w 1346806"/>
                  <a:gd name="connsiteY30" fmla="*/ 554038 h 1031875"/>
                  <a:gd name="connsiteX31" fmla="*/ 1012779 w 1346806"/>
                  <a:gd name="connsiteY31" fmla="*/ 554038 h 1031875"/>
                  <a:gd name="connsiteX32" fmla="*/ 1007793 w 1346806"/>
                  <a:gd name="connsiteY32" fmla="*/ 548381 h 1031875"/>
                  <a:gd name="connsiteX33" fmla="*/ 1008506 w 1346806"/>
                  <a:gd name="connsiteY33" fmla="*/ 542724 h 1031875"/>
                  <a:gd name="connsiteX34" fmla="*/ 1104654 w 1346806"/>
                  <a:gd name="connsiteY34" fmla="*/ 476250 h 1031875"/>
                  <a:gd name="connsiteX35" fmla="*/ 690018 w 1346806"/>
                  <a:gd name="connsiteY35" fmla="*/ 468312 h 1031875"/>
                  <a:gd name="connsiteX36" fmla="*/ 823804 w 1346806"/>
                  <a:gd name="connsiteY36" fmla="*/ 607094 h 1031875"/>
                  <a:gd name="connsiteX37" fmla="*/ 818796 w 1346806"/>
                  <a:gd name="connsiteY37" fmla="*/ 653834 h 1031875"/>
                  <a:gd name="connsiteX38" fmla="*/ 804487 w 1346806"/>
                  <a:gd name="connsiteY38" fmla="*/ 674687 h 1031875"/>
                  <a:gd name="connsiteX39" fmla="*/ 794471 w 1346806"/>
                  <a:gd name="connsiteY39" fmla="*/ 674687 h 1031875"/>
                  <a:gd name="connsiteX40" fmla="*/ 793040 w 1346806"/>
                  <a:gd name="connsiteY40" fmla="*/ 573297 h 1031875"/>
                  <a:gd name="connsiteX41" fmla="*/ 617043 w 1346806"/>
                  <a:gd name="connsiteY41" fmla="*/ 579050 h 1031875"/>
                  <a:gd name="connsiteX42" fmla="*/ 584133 w 1346806"/>
                  <a:gd name="connsiteY42" fmla="*/ 673249 h 1031875"/>
                  <a:gd name="connsiteX43" fmla="*/ 574833 w 1346806"/>
                  <a:gd name="connsiteY43" fmla="*/ 671811 h 1031875"/>
                  <a:gd name="connsiteX44" fmla="*/ 561239 w 1346806"/>
                  <a:gd name="connsiteY44" fmla="*/ 655272 h 1031875"/>
                  <a:gd name="connsiteX45" fmla="*/ 556946 w 1346806"/>
                  <a:gd name="connsiteY45" fmla="*/ 607094 h 1031875"/>
                  <a:gd name="connsiteX46" fmla="*/ 690018 w 1346806"/>
                  <a:gd name="connsiteY46" fmla="*/ 468312 h 1031875"/>
                  <a:gd name="connsiteX47" fmla="*/ 128400 w 1346806"/>
                  <a:gd name="connsiteY47" fmla="*/ 468312 h 1031875"/>
                  <a:gd name="connsiteX48" fmla="*/ 163382 w 1346806"/>
                  <a:gd name="connsiteY48" fmla="*/ 492620 h 1031875"/>
                  <a:gd name="connsiteX49" fmla="*/ 189520 w 1346806"/>
                  <a:gd name="connsiteY49" fmla="*/ 496944 h 1031875"/>
                  <a:gd name="connsiteX50" fmla="*/ 188446 w 1346806"/>
                  <a:gd name="connsiteY50" fmla="*/ 497121 h 1031875"/>
                  <a:gd name="connsiteX51" fmla="*/ 190590 w 1346806"/>
                  <a:gd name="connsiteY51" fmla="*/ 497121 h 1031875"/>
                  <a:gd name="connsiteX52" fmla="*/ 189520 w 1346806"/>
                  <a:gd name="connsiteY52" fmla="*/ 496944 h 1031875"/>
                  <a:gd name="connsiteX53" fmla="*/ 215765 w 1346806"/>
                  <a:gd name="connsiteY53" fmla="*/ 492620 h 1031875"/>
                  <a:gd name="connsiteX54" fmla="*/ 251350 w 1346806"/>
                  <a:gd name="connsiteY54" fmla="*/ 468312 h 1031875"/>
                  <a:gd name="connsiteX55" fmla="*/ 332840 w 1346806"/>
                  <a:gd name="connsiteY55" fmla="*/ 481663 h 1031875"/>
                  <a:gd name="connsiteX56" fmla="*/ 379303 w 1346806"/>
                  <a:gd name="connsiteY56" fmla="*/ 547713 h 1031875"/>
                  <a:gd name="connsiteX57" fmla="*/ 375014 w 1346806"/>
                  <a:gd name="connsiteY57" fmla="*/ 554037 h 1031875"/>
                  <a:gd name="connsiteX58" fmla="*/ 4736 w 1346806"/>
                  <a:gd name="connsiteY58" fmla="*/ 554037 h 1031875"/>
                  <a:gd name="connsiteX59" fmla="*/ 447 w 1346806"/>
                  <a:gd name="connsiteY59" fmla="*/ 547713 h 1031875"/>
                  <a:gd name="connsiteX60" fmla="*/ 46196 w 1346806"/>
                  <a:gd name="connsiteY60" fmla="*/ 481663 h 1031875"/>
                  <a:gd name="connsiteX61" fmla="*/ 128400 w 1346806"/>
                  <a:gd name="connsiteY61" fmla="*/ 468312 h 1031875"/>
                  <a:gd name="connsiteX62" fmla="*/ 758199 w 1346806"/>
                  <a:gd name="connsiteY62" fmla="*/ 188912 h 1031875"/>
                  <a:gd name="connsiteX63" fmla="*/ 781656 w 1346806"/>
                  <a:gd name="connsiteY63" fmla="*/ 239838 h 1031875"/>
                  <a:gd name="connsiteX64" fmla="*/ 734031 w 1346806"/>
                  <a:gd name="connsiteY64" fmla="*/ 257521 h 1031875"/>
                  <a:gd name="connsiteX65" fmla="*/ 734031 w 1346806"/>
                  <a:gd name="connsiteY65" fmla="*/ 239131 h 1031875"/>
                  <a:gd name="connsiteX66" fmla="*/ 751802 w 1346806"/>
                  <a:gd name="connsiteY66" fmla="*/ 205180 h 1031875"/>
                  <a:gd name="connsiteX67" fmla="*/ 758199 w 1346806"/>
                  <a:gd name="connsiteY67" fmla="*/ 188912 h 1031875"/>
                  <a:gd name="connsiteX68" fmla="*/ 580565 w 1346806"/>
                  <a:gd name="connsiteY68" fmla="*/ 188912 h 1031875"/>
                  <a:gd name="connsiteX69" fmla="*/ 587673 w 1346806"/>
                  <a:gd name="connsiteY69" fmla="*/ 205887 h 1031875"/>
                  <a:gd name="connsiteX70" fmla="*/ 605443 w 1346806"/>
                  <a:gd name="connsiteY70" fmla="*/ 239838 h 1031875"/>
                  <a:gd name="connsiteX71" fmla="*/ 605443 w 1346806"/>
                  <a:gd name="connsiteY71" fmla="*/ 257521 h 1031875"/>
                  <a:gd name="connsiteX72" fmla="*/ 557818 w 1346806"/>
                  <a:gd name="connsiteY72" fmla="*/ 240546 h 1031875"/>
                  <a:gd name="connsiteX73" fmla="*/ 580565 w 1346806"/>
                  <a:gd name="connsiteY73" fmla="*/ 188912 h 1031875"/>
                  <a:gd name="connsiteX74" fmla="*/ 670176 w 1346806"/>
                  <a:gd name="connsiteY74" fmla="*/ 0 h 1031875"/>
                  <a:gd name="connsiteX75" fmla="*/ 768246 w 1346806"/>
                  <a:gd name="connsiteY75" fmla="*/ 100194 h 1031875"/>
                  <a:gd name="connsiteX76" fmla="*/ 764692 w 1346806"/>
                  <a:gd name="connsiteY76" fmla="*/ 133592 h 1031875"/>
                  <a:gd name="connsiteX77" fmla="*/ 754033 w 1346806"/>
                  <a:gd name="connsiteY77" fmla="*/ 148515 h 1031875"/>
                  <a:gd name="connsiteX78" fmla="*/ 752611 w 1346806"/>
                  <a:gd name="connsiteY78" fmla="*/ 149225 h 1031875"/>
                  <a:gd name="connsiteX79" fmla="*/ 746926 w 1346806"/>
                  <a:gd name="connsiteY79" fmla="*/ 149225 h 1031875"/>
                  <a:gd name="connsiteX80" fmla="*/ 746215 w 1346806"/>
                  <a:gd name="connsiteY80" fmla="*/ 149225 h 1031875"/>
                  <a:gd name="connsiteX81" fmla="*/ 616877 w 1346806"/>
                  <a:gd name="connsiteY81" fmla="*/ 80297 h 1031875"/>
                  <a:gd name="connsiteX82" fmla="*/ 616167 w 1346806"/>
                  <a:gd name="connsiteY82" fmla="*/ 80297 h 1031875"/>
                  <a:gd name="connsiteX83" fmla="*/ 577081 w 1346806"/>
                  <a:gd name="connsiteY83" fmla="*/ 140698 h 1031875"/>
                  <a:gd name="connsiteX84" fmla="*/ 572106 w 1346806"/>
                  <a:gd name="connsiteY84" fmla="*/ 100194 h 1031875"/>
                  <a:gd name="connsiteX85" fmla="*/ 670176 w 1346806"/>
                  <a:gd name="connsiteY85" fmla="*/ 0 h 1031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</a:cxnLst>
                <a:rect l="l" t="t" r="r" b="b"/>
                <a:pathLst>
                  <a:path w="1346806" h="1031875">
                    <a:moveTo>
                      <a:pt x="690731" y="858837"/>
                    </a:moveTo>
                    <a:cubicBezTo>
                      <a:pt x="698577" y="858837"/>
                      <a:pt x="707849" y="860982"/>
                      <a:pt x="712842" y="863127"/>
                    </a:cubicBezTo>
                    <a:cubicBezTo>
                      <a:pt x="714268" y="863127"/>
                      <a:pt x="714981" y="865988"/>
                      <a:pt x="714268" y="868133"/>
                    </a:cubicBezTo>
                    <a:cubicBezTo>
                      <a:pt x="714268" y="868133"/>
                      <a:pt x="714268" y="868133"/>
                      <a:pt x="700003" y="903169"/>
                    </a:cubicBezTo>
                    <a:cubicBezTo>
                      <a:pt x="700003" y="903884"/>
                      <a:pt x="699290" y="904599"/>
                      <a:pt x="700003" y="906029"/>
                    </a:cubicBezTo>
                    <a:cubicBezTo>
                      <a:pt x="700003" y="906029"/>
                      <a:pt x="700003" y="906029"/>
                      <a:pt x="712842" y="1031160"/>
                    </a:cubicBezTo>
                    <a:cubicBezTo>
                      <a:pt x="704996" y="1031875"/>
                      <a:pt x="697864" y="1031875"/>
                      <a:pt x="690018" y="1031875"/>
                    </a:cubicBezTo>
                    <a:cubicBezTo>
                      <a:pt x="682886" y="1031875"/>
                      <a:pt x="675753" y="1031875"/>
                      <a:pt x="667908" y="1031160"/>
                    </a:cubicBezTo>
                    <a:cubicBezTo>
                      <a:pt x="667908" y="1030445"/>
                      <a:pt x="672901" y="978963"/>
                      <a:pt x="680746" y="906029"/>
                    </a:cubicBezTo>
                    <a:cubicBezTo>
                      <a:pt x="680746" y="905314"/>
                      <a:pt x="680746" y="903884"/>
                      <a:pt x="680746" y="903169"/>
                    </a:cubicBezTo>
                    <a:cubicBezTo>
                      <a:pt x="680746" y="903169"/>
                      <a:pt x="680746" y="903169"/>
                      <a:pt x="666481" y="868133"/>
                    </a:cubicBezTo>
                    <a:cubicBezTo>
                      <a:pt x="665768" y="865988"/>
                      <a:pt x="666481" y="863127"/>
                      <a:pt x="667908" y="863127"/>
                    </a:cubicBezTo>
                    <a:cubicBezTo>
                      <a:pt x="672901" y="860982"/>
                      <a:pt x="682886" y="858837"/>
                      <a:pt x="690731" y="858837"/>
                    </a:cubicBezTo>
                    <a:close/>
                    <a:moveTo>
                      <a:pt x="193051" y="687387"/>
                    </a:moveTo>
                    <a:cubicBezTo>
                      <a:pt x="248169" y="687387"/>
                      <a:pt x="291118" y="732155"/>
                      <a:pt x="291118" y="786871"/>
                    </a:cubicBezTo>
                    <a:cubicBezTo>
                      <a:pt x="291118" y="798951"/>
                      <a:pt x="289686" y="817426"/>
                      <a:pt x="285391" y="827375"/>
                    </a:cubicBezTo>
                    <a:cubicBezTo>
                      <a:pt x="276086" y="836612"/>
                      <a:pt x="276801" y="776922"/>
                      <a:pt x="247453" y="767685"/>
                    </a:cubicBezTo>
                    <a:cubicBezTo>
                      <a:pt x="246737" y="767685"/>
                      <a:pt x="246737" y="767685"/>
                      <a:pt x="246021" y="767685"/>
                    </a:cubicBezTo>
                    <a:cubicBezTo>
                      <a:pt x="117174" y="835902"/>
                      <a:pt x="117174" y="835902"/>
                      <a:pt x="117174" y="835902"/>
                    </a:cubicBezTo>
                    <a:cubicBezTo>
                      <a:pt x="116458" y="835902"/>
                      <a:pt x="116458" y="835902"/>
                      <a:pt x="116458" y="835902"/>
                    </a:cubicBezTo>
                    <a:cubicBezTo>
                      <a:pt x="110016" y="835902"/>
                      <a:pt x="110016" y="835902"/>
                      <a:pt x="110016" y="835902"/>
                    </a:cubicBezTo>
                    <a:cubicBezTo>
                      <a:pt x="109300" y="835902"/>
                      <a:pt x="109300" y="835902"/>
                      <a:pt x="108584" y="835191"/>
                    </a:cubicBezTo>
                    <a:cubicBezTo>
                      <a:pt x="99994" y="825243"/>
                      <a:pt x="97847" y="820269"/>
                      <a:pt x="97847" y="820269"/>
                    </a:cubicBezTo>
                    <a:cubicBezTo>
                      <a:pt x="94268" y="810320"/>
                      <a:pt x="94268" y="798951"/>
                      <a:pt x="94268" y="786871"/>
                    </a:cubicBezTo>
                    <a:cubicBezTo>
                      <a:pt x="94268" y="732155"/>
                      <a:pt x="137217" y="687387"/>
                      <a:pt x="193051" y="687387"/>
                    </a:cubicBezTo>
                    <a:close/>
                    <a:moveTo>
                      <a:pt x="1104654" y="476250"/>
                    </a:moveTo>
                    <a:cubicBezTo>
                      <a:pt x="1113913" y="486150"/>
                      <a:pt x="1133143" y="510194"/>
                      <a:pt x="1177300" y="510194"/>
                    </a:cubicBezTo>
                    <a:cubicBezTo>
                      <a:pt x="1220033" y="510194"/>
                      <a:pt x="1237126" y="490393"/>
                      <a:pt x="1247809" y="476250"/>
                    </a:cubicBezTo>
                    <a:cubicBezTo>
                      <a:pt x="1253507" y="476250"/>
                      <a:pt x="1338972" y="487565"/>
                      <a:pt x="1346806" y="546966"/>
                    </a:cubicBezTo>
                    <a:cubicBezTo>
                      <a:pt x="1346806" y="547674"/>
                      <a:pt x="1346806" y="547674"/>
                      <a:pt x="1346806" y="548381"/>
                    </a:cubicBezTo>
                    <a:cubicBezTo>
                      <a:pt x="1346806" y="551209"/>
                      <a:pt x="1344670" y="554038"/>
                      <a:pt x="1341821" y="554038"/>
                    </a:cubicBezTo>
                    <a:cubicBezTo>
                      <a:pt x="1341821" y="554038"/>
                      <a:pt x="1341821" y="554038"/>
                      <a:pt x="1012779" y="554038"/>
                    </a:cubicBezTo>
                    <a:cubicBezTo>
                      <a:pt x="1009930" y="554038"/>
                      <a:pt x="1007081" y="551209"/>
                      <a:pt x="1007793" y="548381"/>
                    </a:cubicBezTo>
                    <a:cubicBezTo>
                      <a:pt x="1007793" y="546259"/>
                      <a:pt x="1007793" y="544138"/>
                      <a:pt x="1008506" y="542724"/>
                    </a:cubicBezTo>
                    <a:cubicBezTo>
                      <a:pt x="1015628" y="479079"/>
                      <a:pt x="1098957" y="476250"/>
                      <a:pt x="1104654" y="476250"/>
                    </a:cubicBezTo>
                    <a:close/>
                    <a:moveTo>
                      <a:pt x="690018" y="468312"/>
                    </a:moveTo>
                    <a:cubicBezTo>
                      <a:pt x="765854" y="468312"/>
                      <a:pt x="823804" y="530872"/>
                      <a:pt x="823804" y="607094"/>
                    </a:cubicBezTo>
                    <a:cubicBezTo>
                      <a:pt x="823804" y="623633"/>
                      <a:pt x="824519" y="638733"/>
                      <a:pt x="818796" y="653834"/>
                    </a:cubicBezTo>
                    <a:cubicBezTo>
                      <a:pt x="818796" y="653834"/>
                      <a:pt x="815934" y="661025"/>
                      <a:pt x="804487" y="674687"/>
                    </a:cubicBezTo>
                    <a:cubicBezTo>
                      <a:pt x="804487" y="674687"/>
                      <a:pt x="804487" y="674687"/>
                      <a:pt x="794471" y="674687"/>
                    </a:cubicBezTo>
                    <a:cubicBezTo>
                      <a:pt x="794471" y="674687"/>
                      <a:pt x="794471" y="670373"/>
                      <a:pt x="793040" y="573297"/>
                    </a:cubicBezTo>
                    <a:cubicBezTo>
                      <a:pt x="778016" y="650958"/>
                      <a:pt x="617043" y="579050"/>
                      <a:pt x="617043" y="579050"/>
                    </a:cubicBezTo>
                    <a:cubicBezTo>
                      <a:pt x="576979" y="591993"/>
                      <a:pt x="584133" y="673249"/>
                      <a:pt x="584133" y="673249"/>
                    </a:cubicBezTo>
                    <a:cubicBezTo>
                      <a:pt x="584133" y="673249"/>
                      <a:pt x="584133" y="673249"/>
                      <a:pt x="574833" y="671811"/>
                    </a:cubicBezTo>
                    <a:cubicBezTo>
                      <a:pt x="574833" y="671811"/>
                      <a:pt x="574833" y="667496"/>
                      <a:pt x="561239" y="655272"/>
                    </a:cubicBezTo>
                    <a:cubicBezTo>
                      <a:pt x="556231" y="640171"/>
                      <a:pt x="556946" y="624352"/>
                      <a:pt x="556946" y="607094"/>
                    </a:cubicBezTo>
                    <a:cubicBezTo>
                      <a:pt x="556946" y="530872"/>
                      <a:pt x="614181" y="468312"/>
                      <a:pt x="690018" y="468312"/>
                    </a:cubicBezTo>
                    <a:close/>
                    <a:moveTo>
                      <a:pt x="128400" y="468312"/>
                    </a:moveTo>
                    <a:cubicBezTo>
                      <a:pt x="128400" y="468312"/>
                      <a:pt x="140061" y="484517"/>
                      <a:pt x="163382" y="492620"/>
                    </a:cubicBezTo>
                    <a:lnTo>
                      <a:pt x="189520" y="496944"/>
                    </a:lnTo>
                    <a:lnTo>
                      <a:pt x="188446" y="497121"/>
                    </a:lnTo>
                    <a:cubicBezTo>
                      <a:pt x="190590" y="497121"/>
                      <a:pt x="190590" y="497121"/>
                      <a:pt x="190590" y="497121"/>
                    </a:cubicBezTo>
                    <a:lnTo>
                      <a:pt x="189520" y="496944"/>
                    </a:lnTo>
                    <a:lnTo>
                      <a:pt x="215765" y="492620"/>
                    </a:lnTo>
                    <a:cubicBezTo>
                      <a:pt x="239287" y="484517"/>
                      <a:pt x="251350" y="468312"/>
                      <a:pt x="251350" y="468312"/>
                    </a:cubicBezTo>
                    <a:cubicBezTo>
                      <a:pt x="251350" y="468312"/>
                      <a:pt x="304961" y="469015"/>
                      <a:pt x="332840" y="481663"/>
                    </a:cubicBezTo>
                    <a:cubicBezTo>
                      <a:pt x="356429" y="492203"/>
                      <a:pt x="373584" y="532255"/>
                      <a:pt x="379303" y="547713"/>
                    </a:cubicBezTo>
                    <a:cubicBezTo>
                      <a:pt x="380018" y="551226"/>
                      <a:pt x="377873" y="554037"/>
                      <a:pt x="375014" y="554037"/>
                    </a:cubicBezTo>
                    <a:cubicBezTo>
                      <a:pt x="375014" y="554037"/>
                      <a:pt x="375014" y="554037"/>
                      <a:pt x="4736" y="554037"/>
                    </a:cubicBezTo>
                    <a:cubicBezTo>
                      <a:pt x="1162" y="554037"/>
                      <a:pt x="-982" y="551226"/>
                      <a:pt x="447" y="547713"/>
                    </a:cubicBezTo>
                    <a:cubicBezTo>
                      <a:pt x="6166" y="532255"/>
                      <a:pt x="22607" y="492203"/>
                      <a:pt x="46196" y="481663"/>
                    </a:cubicBezTo>
                    <a:cubicBezTo>
                      <a:pt x="74789" y="469015"/>
                      <a:pt x="128400" y="468312"/>
                      <a:pt x="128400" y="468312"/>
                    </a:cubicBezTo>
                    <a:close/>
                    <a:moveTo>
                      <a:pt x="758199" y="188912"/>
                    </a:moveTo>
                    <a:cubicBezTo>
                      <a:pt x="758910" y="207302"/>
                      <a:pt x="760332" y="237716"/>
                      <a:pt x="781656" y="239838"/>
                    </a:cubicBezTo>
                    <a:cubicBezTo>
                      <a:pt x="761753" y="260350"/>
                      <a:pt x="743272" y="259643"/>
                      <a:pt x="734031" y="257521"/>
                    </a:cubicBezTo>
                    <a:cubicBezTo>
                      <a:pt x="734031" y="257521"/>
                      <a:pt x="734031" y="257521"/>
                      <a:pt x="734031" y="239131"/>
                    </a:cubicBezTo>
                    <a:cubicBezTo>
                      <a:pt x="738296" y="233472"/>
                      <a:pt x="743272" y="224277"/>
                      <a:pt x="751802" y="205180"/>
                    </a:cubicBezTo>
                    <a:cubicBezTo>
                      <a:pt x="754645" y="198814"/>
                      <a:pt x="756067" y="193156"/>
                      <a:pt x="758199" y="188912"/>
                    </a:cubicBezTo>
                    <a:close/>
                    <a:moveTo>
                      <a:pt x="580565" y="188912"/>
                    </a:moveTo>
                    <a:cubicBezTo>
                      <a:pt x="582697" y="193863"/>
                      <a:pt x="585540" y="199522"/>
                      <a:pt x="587673" y="205887"/>
                    </a:cubicBezTo>
                    <a:cubicBezTo>
                      <a:pt x="596203" y="224985"/>
                      <a:pt x="601889" y="234180"/>
                      <a:pt x="605443" y="239838"/>
                    </a:cubicBezTo>
                    <a:cubicBezTo>
                      <a:pt x="605443" y="239838"/>
                      <a:pt x="605443" y="239838"/>
                      <a:pt x="605443" y="257521"/>
                    </a:cubicBezTo>
                    <a:cubicBezTo>
                      <a:pt x="596203" y="259643"/>
                      <a:pt x="577010" y="260350"/>
                      <a:pt x="557818" y="240546"/>
                    </a:cubicBezTo>
                    <a:cubicBezTo>
                      <a:pt x="578432" y="238424"/>
                      <a:pt x="579854" y="208009"/>
                      <a:pt x="580565" y="188912"/>
                    </a:cubicBezTo>
                    <a:close/>
                    <a:moveTo>
                      <a:pt x="670176" y="0"/>
                    </a:moveTo>
                    <a:cubicBezTo>
                      <a:pt x="724896" y="0"/>
                      <a:pt x="768246" y="44057"/>
                      <a:pt x="768246" y="100194"/>
                    </a:cubicBezTo>
                    <a:cubicBezTo>
                      <a:pt x="768246" y="111564"/>
                      <a:pt x="768956" y="122933"/>
                      <a:pt x="764692" y="133592"/>
                    </a:cubicBezTo>
                    <a:cubicBezTo>
                      <a:pt x="764692" y="133592"/>
                      <a:pt x="763271" y="138566"/>
                      <a:pt x="754033" y="148515"/>
                    </a:cubicBezTo>
                    <a:cubicBezTo>
                      <a:pt x="753322" y="149225"/>
                      <a:pt x="753322" y="149225"/>
                      <a:pt x="752611" y="149225"/>
                    </a:cubicBezTo>
                    <a:cubicBezTo>
                      <a:pt x="752611" y="149225"/>
                      <a:pt x="752611" y="149225"/>
                      <a:pt x="746926" y="149225"/>
                    </a:cubicBezTo>
                    <a:cubicBezTo>
                      <a:pt x="746215" y="149225"/>
                      <a:pt x="746215" y="149225"/>
                      <a:pt x="746215" y="149225"/>
                    </a:cubicBezTo>
                    <a:cubicBezTo>
                      <a:pt x="746215" y="149225"/>
                      <a:pt x="746215" y="149225"/>
                      <a:pt x="616877" y="80297"/>
                    </a:cubicBezTo>
                    <a:cubicBezTo>
                      <a:pt x="616877" y="80297"/>
                      <a:pt x="616877" y="80297"/>
                      <a:pt x="616167" y="80297"/>
                    </a:cubicBezTo>
                    <a:cubicBezTo>
                      <a:pt x="586319" y="89535"/>
                      <a:pt x="587030" y="149225"/>
                      <a:pt x="577081" y="140698"/>
                    </a:cubicBezTo>
                    <a:cubicBezTo>
                      <a:pt x="573528" y="129328"/>
                      <a:pt x="572106" y="111564"/>
                      <a:pt x="572106" y="100194"/>
                    </a:cubicBezTo>
                    <a:cubicBezTo>
                      <a:pt x="572106" y="44057"/>
                      <a:pt x="614745" y="0"/>
                      <a:pt x="670176" y="0"/>
                    </a:cubicBezTo>
                    <a:close/>
                  </a:path>
                </a:pathLst>
              </a:custGeom>
              <a:solidFill>
                <a:srgbClr val="5D78D1">
                  <a:lumMod val="100000"/>
                </a:srgbClr>
              </a:solidFill>
              <a:ln>
                <a:noFill/>
              </a:ln>
            </p:spPr>
            <p:txBody>
              <a:bodyPr vert="horz" wrap="square" lIns="68665" tIns="34332" rIns="68665" bIns="34332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118" name="Группа 117"/>
          <p:cNvGrpSpPr/>
          <p:nvPr/>
        </p:nvGrpSpPr>
        <p:grpSpPr>
          <a:xfrm>
            <a:off x="7000042" y="3322748"/>
            <a:ext cx="510613" cy="785537"/>
            <a:chOff x="6124976" y="3179924"/>
            <a:chExt cx="510613" cy="785537"/>
          </a:xfrm>
        </p:grpSpPr>
        <p:sp>
          <p:nvSpPr>
            <p:cNvPr id="119" name="Freeform 58"/>
            <p:cNvSpPr>
              <a:spLocks/>
            </p:cNvSpPr>
            <p:nvPr/>
          </p:nvSpPr>
          <p:spPr bwMode="auto">
            <a:xfrm>
              <a:off x="6124976" y="3199106"/>
              <a:ext cx="510613" cy="766355"/>
            </a:xfrm>
            <a:custGeom>
              <a:avLst/>
              <a:gdLst>
                <a:gd name="T0" fmla="*/ 1252 w 1274"/>
                <a:gd name="T1" fmla="*/ 0 h 1690"/>
                <a:gd name="T2" fmla="*/ 887 w 1274"/>
                <a:gd name="T3" fmla="*/ 0 h 1690"/>
                <a:gd name="T4" fmla="*/ 887 w 1274"/>
                <a:gd name="T5" fmla="*/ 44 h 1690"/>
                <a:gd name="T6" fmla="*/ 1230 w 1274"/>
                <a:gd name="T7" fmla="*/ 44 h 1690"/>
                <a:gd name="T8" fmla="*/ 1230 w 1274"/>
                <a:gd name="T9" fmla="*/ 1646 h 1690"/>
                <a:gd name="T10" fmla="*/ 44 w 1274"/>
                <a:gd name="T11" fmla="*/ 1646 h 1690"/>
                <a:gd name="T12" fmla="*/ 44 w 1274"/>
                <a:gd name="T13" fmla="*/ 44 h 1690"/>
                <a:gd name="T14" fmla="*/ 387 w 1274"/>
                <a:gd name="T15" fmla="*/ 44 h 1690"/>
                <a:gd name="T16" fmla="*/ 387 w 1274"/>
                <a:gd name="T17" fmla="*/ 0 h 1690"/>
                <a:gd name="T18" fmla="*/ 22 w 1274"/>
                <a:gd name="T19" fmla="*/ 0 h 1690"/>
                <a:gd name="T20" fmla="*/ 0 w 1274"/>
                <a:gd name="T21" fmla="*/ 22 h 1690"/>
                <a:gd name="T22" fmla="*/ 0 w 1274"/>
                <a:gd name="T23" fmla="*/ 1668 h 1690"/>
                <a:gd name="T24" fmla="*/ 22 w 1274"/>
                <a:gd name="T25" fmla="*/ 1690 h 1690"/>
                <a:gd name="T26" fmla="*/ 1252 w 1274"/>
                <a:gd name="T27" fmla="*/ 1690 h 1690"/>
                <a:gd name="T28" fmla="*/ 1274 w 1274"/>
                <a:gd name="T29" fmla="*/ 1668 h 1690"/>
                <a:gd name="T30" fmla="*/ 1274 w 1274"/>
                <a:gd name="T31" fmla="*/ 22 h 1690"/>
                <a:gd name="T32" fmla="*/ 1252 w 1274"/>
                <a:gd name="T33" fmla="*/ 0 h 1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74" h="1690">
                  <a:moveTo>
                    <a:pt x="1252" y="0"/>
                  </a:moveTo>
                  <a:cubicBezTo>
                    <a:pt x="887" y="0"/>
                    <a:pt x="887" y="0"/>
                    <a:pt x="887" y="0"/>
                  </a:cubicBezTo>
                  <a:cubicBezTo>
                    <a:pt x="887" y="44"/>
                    <a:pt x="887" y="44"/>
                    <a:pt x="887" y="44"/>
                  </a:cubicBezTo>
                  <a:cubicBezTo>
                    <a:pt x="1230" y="44"/>
                    <a:pt x="1230" y="44"/>
                    <a:pt x="1230" y="44"/>
                  </a:cubicBezTo>
                  <a:cubicBezTo>
                    <a:pt x="1230" y="1646"/>
                    <a:pt x="1230" y="1646"/>
                    <a:pt x="1230" y="1646"/>
                  </a:cubicBezTo>
                  <a:cubicBezTo>
                    <a:pt x="44" y="1646"/>
                    <a:pt x="44" y="1646"/>
                    <a:pt x="44" y="1646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387" y="44"/>
                    <a:pt x="387" y="44"/>
                    <a:pt x="387" y="44"/>
                  </a:cubicBezTo>
                  <a:cubicBezTo>
                    <a:pt x="387" y="0"/>
                    <a:pt x="387" y="0"/>
                    <a:pt x="387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1668"/>
                    <a:pt x="0" y="1668"/>
                    <a:pt x="0" y="1668"/>
                  </a:cubicBezTo>
                  <a:cubicBezTo>
                    <a:pt x="0" y="1680"/>
                    <a:pt x="10" y="1690"/>
                    <a:pt x="22" y="1690"/>
                  </a:cubicBezTo>
                  <a:cubicBezTo>
                    <a:pt x="1252" y="1690"/>
                    <a:pt x="1252" y="1690"/>
                    <a:pt x="1252" y="1690"/>
                  </a:cubicBezTo>
                  <a:cubicBezTo>
                    <a:pt x="1264" y="1690"/>
                    <a:pt x="1274" y="1680"/>
                    <a:pt x="1274" y="1668"/>
                  </a:cubicBezTo>
                  <a:cubicBezTo>
                    <a:pt x="1274" y="22"/>
                    <a:pt x="1274" y="22"/>
                    <a:pt x="1274" y="22"/>
                  </a:cubicBezTo>
                  <a:cubicBezTo>
                    <a:pt x="1274" y="10"/>
                    <a:pt x="1264" y="0"/>
                    <a:pt x="1252" y="0"/>
                  </a:cubicBezTo>
                  <a:close/>
                </a:path>
              </a:pathLst>
            </a:custGeom>
            <a:solidFill>
              <a:srgbClr val="283B85">
                <a:lumMod val="10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665" tIns="34332" rIns="68665" bIns="34332" numCol="1" anchor="t" anchorCtr="0" compatLnSpc="1">
              <a:prstTxWarp prst="textNoShape">
                <a:avLst/>
              </a:prstTxWarp>
            </a:bodyPr>
            <a:lstStyle/>
            <a:p>
              <a:pPr hangingPunct="0">
                <a:defRPr/>
              </a:pPr>
              <a:endParaRPr lang="en-US" sz="14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Roboto Regular"/>
              </a:endParaRPr>
            </a:p>
          </p:txBody>
        </p:sp>
        <p:sp>
          <p:nvSpPr>
            <p:cNvPr id="120" name="Freeform 44"/>
            <p:cNvSpPr>
              <a:spLocks/>
            </p:cNvSpPr>
            <p:nvPr/>
          </p:nvSpPr>
          <p:spPr bwMode="auto">
            <a:xfrm>
              <a:off x="6165457" y="3179924"/>
              <a:ext cx="381683" cy="670275"/>
            </a:xfrm>
            <a:custGeom>
              <a:avLst/>
              <a:gdLst>
                <a:gd name="connsiteX0" fmla="*/ 283992 w 587375"/>
                <a:gd name="connsiteY0" fmla="*/ 1063625 h 1106488"/>
                <a:gd name="connsiteX1" fmla="*/ 571671 w 587375"/>
                <a:gd name="connsiteY1" fmla="*/ 1063625 h 1106488"/>
                <a:gd name="connsiteX2" fmla="*/ 587375 w 587375"/>
                <a:gd name="connsiteY2" fmla="*/ 1079500 h 1106488"/>
                <a:gd name="connsiteX3" fmla="*/ 571671 w 587375"/>
                <a:gd name="connsiteY3" fmla="*/ 1095375 h 1106488"/>
                <a:gd name="connsiteX4" fmla="*/ 283992 w 587375"/>
                <a:gd name="connsiteY4" fmla="*/ 1095375 h 1106488"/>
                <a:gd name="connsiteX5" fmla="*/ 268287 w 587375"/>
                <a:gd name="connsiteY5" fmla="*/ 1079500 h 1106488"/>
                <a:gd name="connsiteX6" fmla="*/ 283992 w 587375"/>
                <a:gd name="connsiteY6" fmla="*/ 1063625 h 1106488"/>
                <a:gd name="connsiteX7" fmla="*/ 31750 w 587375"/>
                <a:gd name="connsiteY7" fmla="*/ 984250 h 1106488"/>
                <a:gd name="connsiteX8" fmla="*/ 31750 w 587375"/>
                <a:gd name="connsiteY8" fmla="*/ 1074738 h 1106488"/>
                <a:gd name="connsiteX9" fmla="*/ 122238 w 587375"/>
                <a:gd name="connsiteY9" fmla="*/ 1074738 h 1106488"/>
                <a:gd name="connsiteX10" fmla="*/ 122238 w 587375"/>
                <a:gd name="connsiteY10" fmla="*/ 984250 h 1106488"/>
                <a:gd name="connsiteX11" fmla="*/ 283992 w 587375"/>
                <a:gd name="connsiteY11" fmla="*/ 963613 h 1106488"/>
                <a:gd name="connsiteX12" fmla="*/ 571671 w 587375"/>
                <a:gd name="connsiteY12" fmla="*/ 963613 h 1106488"/>
                <a:gd name="connsiteX13" fmla="*/ 587375 w 587375"/>
                <a:gd name="connsiteY13" fmla="*/ 979488 h 1106488"/>
                <a:gd name="connsiteX14" fmla="*/ 571671 w 587375"/>
                <a:gd name="connsiteY14" fmla="*/ 995363 h 1106488"/>
                <a:gd name="connsiteX15" fmla="*/ 283992 w 587375"/>
                <a:gd name="connsiteY15" fmla="*/ 995363 h 1106488"/>
                <a:gd name="connsiteX16" fmla="*/ 268287 w 587375"/>
                <a:gd name="connsiteY16" fmla="*/ 979488 h 1106488"/>
                <a:gd name="connsiteX17" fmla="*/ 283992 w 587375"/>
                <a:gd name="connsiteY17" fmla="*/ 963613 h 1106488"/>
                <a:gd name="connsiteX18" fmla="*/ 15684 w 587375"/>
                <a:gd name="connsiteY18" fmla="*/ 952500 h 1106488"/>
                <a:gd name="connsiteX19" fmla="*/ 138304 w 587375"/>
                <a:gd name="connsiteY19" fmla="*/ 952500 h 1106488"/>
                <a:gd name="connsiteX20" fmla="*/ 153988 w 587375"/>
                <a:gd name="connsiteY20" fmla="*/ 968184 h 1106488"/>
                <a:gd name="connsiteX21" fmla="*/ 153988 w 587375"/>
                <a:gd name="connsiteY21" fmla="*/ 1090804 h 1106488"/>
                <a:gd name="connsiteX22" fmla="*/ 138304 w 587375"/>
                <a:gd name="connsiteY22" fmla="*/ 1106488 h 1106488"/>
                <a:gd name="connsiteX23" fmla="*/ 15684 w 587375"/>
                <a:gd name="connsiteY23" fmla="*/ 1106488 h 1106488"/>
                <a:gd name="connsiteX24" fmla="*/ 0 w 587375"/>
                <a:gd name="connsiteY24" fmla="*/ 1090804 h 1106488"/>
                <a:gd name="connsiteX25" fmla="*/ 0 w 587375"/>
                <a:gd name="connsiteY25" fmla="*/ 968184 h 1106488"/>
                <a:gd name="connsiteX26" fmla="*/ 15684 w 587375"/>
                <a:gd name="connsiteY26" fmla="*/ 952500 h 1106488"/>
                <a:gd name="connsiteX27" fmla="*/ 283992 w 587375"/>
                <a:gd name="connsiteY27" fmla="*/ 781050 h 1106488"/>
                <a:gd name="connsiteX28" fmla="*/ 571671 w 587375"/>
                <a:gd name="connsiteY28" fmla="*/ 781050 h 1106488"/>
                <a:gd name="connsiteX29" fmla="*/ 587375 w 587375"/>
                <a:gd name="connsiteY29" fmla="*/ 796925 h 1106488"/>
                <a:gd name="connsiteX30" fmla="*/ 571671 w 587375"/>
                <a:gd name="connsiteY30" fmla="*/ 812800 h 1106488"/>
                <a:gd name="connsiteX31" fmla="*/ 283992 w 587375"/>
                <a:gd name="connsiteY31" fmla="*/ 812800 h 1106488"/>
                <a:gd name="connsiteX32" fmla="*/ 268287 w 587375"/>
                <a:gd name="connsiteY32" fmla="*/ 796925 h 1106488"/>
                <a:gd name="connsiteX33" fmla="*/ 283992 w 587375"/>
                <a:gd name="connsiteY33" fmla="*/ 781050 h 1106488"/>
                <a:gd name="connsiteX34" fmla="*/ 31750 w 587375"/>
                <a:gd name="connsiteY34" fmla="*/ 703263 h 1106488"/>
                <a:gd name="connsiteX35" fmla="*/ 31750 w 587375"/>
                <a:gd name="connsiteY35" fmla="*/ 795338 h 1106488"/>
                <a:gd name="connsiteX36" fmla="*/ 122238 w 587375"/>
                <a:gd name="connsiteY36" fmla="*/ 795338 h 1106488"/>
                <a:gd name="connsiteX37" fmla="*/ 122238 w 587375"/>
                <a:gd name="connsiteY37" fmla="*/ 703263 h 1106488"/>
                <a:gd name="connsiteX38" fmla="*/ 283992 w 587375"/>
                <a:gd name="connsiteY38" fmla="*/ 679450 h 1106488"/>
                <a:gd name="connsiteX39" fmla="*/ 571671 w 587375"/>
                <a:gd name="connsiteY39" fmla="*/ 679450 h 1106488"/>
                <a:gd name="connsiteX40" fmla="*/ 587375 w 587375"/>
                <a:gd name="connsiteY40" fmla="*/ 695325 h 1106488"/>
                <a:gd name="connsiteX41" fmla="*/ 571671 w 587375"/>
                <a:gd name="connsiteY41" fmla="*/ 711200 h 1106488"/>
                <a:gd name="connsiteX42" fmla="*/ 283992 w 587375"/>
                <a:gd name="connsiteY42" fmla="*/ 711200 h 1106488"/>
                <a:gd name="connsiteX43" fmla="*/ 268287 w 587375"/>
                <a:gd name="connsiteY43" fmla="*/ 695325 h 1106488"/>
                <a:gd name="connsiteX44" fmla="*/ 283992 w 587375"/>
                <a:gd name="connsiteY44" fmla="*/ 679450 h 1106488"/>
                <a:gd name="connsiteX45" fmla="*/ 15684 w 587375"/>
                <a:gd name="connsiteY45" fmla="*/ 671513 h 1106488"/>
                <a:gd name="connsiteX46" fmla="*/ 138304 w 587375"/>
                <a:gd name="connsiteY46" fmla="*/ 671513 h 1106488"/>
                <a:gd name="connsiteX47" fmla="*/ 153988 w 587375"/>
                <a:gd name="connsiteY47" fmla="*/ 687197 h 1106488"/>
                <a:gd name="connsiteX48" fmla="*/ 153988 w 587375"/>
                <a:gd name="connsiteY48" fmla="*/ 809817 h 1106488"/>
                <a:gd name="connsiteX49" fmla="*/ 138304 w 587375"/>
                <a:gd name="connsiteY49" fmla="*/ 825501 h 1106488"/>
                <a:gd name="connsiteX50" fmla="*/ 15684 w 587375"/>
                <a:gd name="connsiteY50" fmla="*/ 825501 h 1106488"/>
                <a:gd name="connsiteX51" fmla="*/ 0 w 587375"/>
                <a:gd name="connsiteY51" fmla="*/ 809817 h 1106488"/>
                <a:gd name="connsiteX52" fmla="*/ 0 w 587375"/>
                <a:gd name="connsiteY52" fmla="*/ 687197 h 1106488"/>
                <a:gd name="connsiteX53" fmla="*/ 15684 w 587375"/>
                <a:gd name="connsiteY53" fmla="*/ 671513 h 1106488"/>
                <a:gd name="connsiteX54" fmla="*/ 283992 w 587375"/>
                <a:gd name="connsiteY54" fmla="*/ 498475 h 1106488"/>
                <a:gd name="connsiteX55" fmla="*/ 571671 w 587375"/>
                <a:gd name="connsiteY55" fmla="*/ 498475 h 1106488"/>
                <a:gd name="connsiteX56" fmla="*/ 587375 w 587375"/>
                <a:gd name="connsiteY56" fmla="*/ 513557 h 1106488"/>
                <a:gd name="connsiteX57" fmla="*/ 571671 w 587375"/>
                <a:gd name="connsiteY57" fmla="*/ 528638 h 1106488"/>
                <a:gd name="connsiteX58" fmla="*/ 283992 w 587375"/>
                <a:gd name="connsiteY58" fmla="*/ 528638 h 1106488"/>
                <a:gd name="connsiteX59" fmla="*/ 268287 w 587375"/>
                <a:gd name="connsiteY59" fmla="*/ 513557 h 1106488"/>
                <a:gd name="connsiteX60" fmla="*/ 283992 w 587375"/>
                <a:gd name="connsiteY60" fmla="*/ 498475 h 1106488"/>
                <a:gd name="connsiteX61" fmla="*/ 31750 w 587375"/>
                <a:gd name="connsiteY61" fmla="*/ 419100 h 1106488"/>
                <a:gd name="connsiteX62" fmla="*/ 31750 w 587375"/>
                <a:gd name="connsiteY62" fmla="*/ 509588 h 1106488"/>
                <a:gd name="connsiteX63" fmla="*/ 122238 w 587375"/>
                <a:gd name="connsiteY63" fmla="*/ 509588 h 1106488"/>
                <a:gd name="connsiteX64" fmla="*/ 122238 w 587375"/>
                <a:gd name="connsiteY64" fmla="*/ 419100 h 1106488"/>
                <a:gd name="connsiteX65" fmla="*/ 283992 w 587375"/>
                <a:gd name="connsiteY65" fmla="*/ 396875 h 1106488"/>
                <a:gd name="connsiteX66" fmla="*/ 571671 w 587375"/>
                <a:gd name="connsiteY66" fmla="*/ 396875 h 1106488"/>
                <a:gd name="connsiteX67" fmla="*/ 587375 w 587375"/>
                <a:gd name="connsiteY67" fmla="*/ 412750 h 1106488"/>
                <a:gd name="connsiteX68" fmla="*/ 571671 w 587375"/>
                <a:gd name="connsiteY68" fmla="*/ 428625 h 1106488"/>
                <a:gd name="connsiteX69" fmla="*/ 283992 w 587375"/>
                <a:gd name="connsiteY69" fmla="*/ 428625 h 1106488"/>
                <a:gd name="connsiteX70" fmla="*/ 268287 w 587375"/>
                <a:gd name="connsiteY70" fmla="*/ 412750 h 1106488"/>
                <a:gd name="connsiteX71" fmla="*/ 283992 w 587375"/>
                <a:gd name="connsiteY71" fmla="*/ 396875 h 1106488"/>
                <a:gd name="connsiteX72" fmla="*/ 15684 w 587375"/>
                <a:gd name="connsiteY72" fmla="*/ 387350 h 1106488"/>
                <a:gd name="connsiteX73" fmla="*/ 138304 w 587375"/>
                <a:gd name="connsiteY73" fmla="*/ 387350 h 1106488"/>
                <a:gd name="connsiteX74" fmla="*/ 153988 w 587375"/>
                <a:gd name="connsiteY74" fmla="*/ 403034 h 1106488"/>
                <a:gd name="connsiteX75" fmla="*/ 153988 w 587375"/>
                <a:gd name="connsiteY75" fmla="*/ 525654 h 1106488"/>
                <a:gd name="connsiteX76" fmla="*/ 138304 w 587375"/>
                <a:gd name="connsiteY76" fmla="*/ 541338 h 1106488"/>
                <a:gd name="connsiteX77" fmla="*/ 15684 w 587375"/>
                <a:gd name="connsiteY77" fmla="*/ 541338 h 1106488"/>
                <a:gd name="connsiteX78" fmla="*/ 0 w 587375"/>
                <a:gd name="connsiteY78" fmla="*/ 525654 h 1106488"/>
                <a:gd name="connsiteX79" fmla="*/ 0 w 587375"/>
                <a:gd name="connsiteY79" fmla="*/ 403034 h 1106488"/>
                <a:gd name="connsiteX80" fmla="*/ 15684 w 587375"/>
                <a:gd name="connsiteY80" fmla="*/ 387350 h 1106488"/>
                <a:gd name="connsiteX81" fmla="*/ 293687 w 587375"/>
                <a:gd name="connsiteY81" fmla="*/ 31750 h 1106488"/>
                <a:gd name="connsiteX82" fmla="*/ 270538 w 587375"/>
                <a:gd name="connsiteY82" fmla="*/ 35941 h 1106488"/>
                <a:gd name="connsiteX83" fmla="*/ 236537 w 587375"/>
                <a:gd name="connsiteY83" fmla="*/ 66675 h 1106488"/>
                <a:gd name="connsiteX84" fmla="*/ 350837 w 587375"/>
                <a:gd name="connsiteY84" fmla="*/ 66675 h 1106488"/>
                <a:gd name="connsiteX85" fmla="*/ 316837 w 587375"/>
                <a:gd name="connsiteY85" fmla="*/ 35941 h 1106488"/>
                <a:gd name="connsiteX86" fmla="*/ 293687 w 587375"/>
                <a:gd name="connsiteY86" fmla="*/ 31750 h 1106488"/>
                <a:gd name="connsiteX87" fmla="*/ 293688 w 587375"/>
                <a:gd name="connsiteY87" fmla="*/ 0 h 1106488"/>
                <a:gd name="connsiteX88" fmla="*/ 367506 w 587375"/>
                <a:gd name="connsiteY88" fmla="*/ 35502 h 1106488"/>
                <a:gd name="connsiteX89" fmla="*/ 383990 w 587375"/>
                <a:gd name="connsiteY89" fmla="*/ 66745 h 1106488"/>
                <a:gd name="connsiteX90" fmla="*/ 434158 w 587375"/>
                <a:gd name="connsiteY90" fmla="*/ 66745 h 1106488"/>
                <a:gd name="connsiteX91" fmla="*/ 441325 w 587375"/>
                <a:gd name="connsiteY91" fmla="*/ 73845 h 1106488"/>
                <a:gd name="connsiteX92" fmla="*/ 441325 w 587375"/>
                <a:gd name="connsiteY92" fmla="*/ 115028 h 1106488"/>
                <a:gd name="connsiteX93" fmla="*/ 441325 w 587375"/>
                <a:gd name="connsiteY93" fmla="*/ 146270 h 1106488"/>
                <a:gd name="connsiteX94" fmla="*/ 441325 w 587375"/>
                <a:gd name="connsiteY94" fmla="*/ 179642 h 1106488"/>
                <a:gd name="connsiteX95" fmla="*/ 425558 w 587375"/>
                <a:gd name="connsiteY95" fmla="*/ 195263 h 1106488"/>
                <a:gd name="connsiteX96" fmla="*/ 161817 w 587375"/>
                <a:gd name="connsiteY96" fmla="*/ 195263 h 1106488"/>
                <a:gd name="connsiteX97" fmla="*/ 146050 w 587375"/>
                <a:gd name="connsiteY97" fmla="*/ 179642 h 1106488"/>
                <a:gd name="connsiteX98" fmla="*/ 146050 w 587375"/>
                <a:gd name="connsiteY98" fmla="*/ 146270 h 1106488"/>
                <a:gd name="connsiteX99" fmla="*/ 146050 w 587375"/>
                <a:gd name="connsiteY99" fmla="*/ 115028 h 1106488"/>
                <a:gd name="connsiteX100" fmla="*/ 146050 w 587375"/>
                <a:gd name="connsiteY100" fmla="*/ 73845 h 1106488"/>
                <a:gd name="connsiteX101" fmla="*/ 153217 w 587375"/>
                <a:gd name="connsiteY101" fmla="*/ 66745 h 1106488"/>
                <a:gd name="connsiteX102" fmla="*/ 203385 w 587375"/>
                <a:gd name="connsiteY102" fmla="*/ 66745 h 1106488"/>
                <a:gd name="connsiteX103" fmla="*/ 219869 w 587375"/>
                <a:gd name="connsiteY103" fmla="*/ 35502 h 1106488"/>
                <a:gd name="connsiteX104" fmla="*/ 293688 w 587375"/>
                <a:gd name="connsiteY104" fmla="*/ 0 h 1106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587375" h="1106488">
                  <a:moveTo>
                    <a:pt x="283992" y="1063625"/>
                  </a:moveTo>
                  <a:cubicBezTo>
                    <a:pt x="283992" y="1063625"/>
                    <a:pt x="283992" y="1063625"/>
                    <a:pt x="571671" y="1063625"/>
                  </a:cubicBezTo>
                  <a:cubicBezTo>
                    <a:pt x="580237" y="1063625"/>
                    <a:pt x="587375" y="1070841"/>
                    <a:pt x="587375" y="1079500"/>
                  </a:cubicBezTo>
                  <a:cubicBezTo>
                    <a:pt x="587375" y="1088159"/>
                    <a:pt x="580237" y="1095375"/>
                    <a:pt x="571671" y="1095375"/>
                  </a:cubicBezTo>
                  <a:cubicBezTo>
                    <a:pt x="571671" y="1095375"/>
                    <a:pt x="571671" y="1095375"/>
                    <a:pt x="283992" y="1095375"/>
                  </a:cubicBezTo>
                  <a:cubicBezTo>
                    <a:pt x="275426" y="1095375"/>
                    <a:pt x="268287" y="1088159"/>
                    <a:pt x="268287" y="1079500"/>
                  </a:cubicBezTo>
                  <a:cubicBezTo>
                    <a:pt x="268287" y="1070841"/>
                    <a:pt x="275426" y="1063625"/>
                    <a:pt x="283992" y="1063625"/>
                  </a:cubicBezTo>
                  <a:close/>
                  <a:moveTo>
                    <a:pt x="31750" y="984250"/>
                  </a:moveTo>
                  <a:lnTo>
                    <a:pt x="31750" y="1074738"/>
                  </a:lnTo>
                  <a:lnTo>
                    <a:pt x="122238" y="1074738"/>
                  </a:lnTo>
                  <a:lnTo>
                    <a:pt x="122238" y="984250"/>
                  </a:lnTo>
                  <a:close/>
                  <a:moveTo>
                    <a:pt x="283992" y="963613"/>
                  </a:moveTo>
                  <a:cubicBezTo>
                    <a:pt x="283992" y="963613"/>
                    <a:pt x="283992" y="963613"/>
                    <a:pt x="571671" y="963613"/>
                  </a:cubicBezTo>
                  <a:cubicBezTo>
                    <a:pt x="580237" y="963613"/>
                    <a:pt x="587375" y="970107"/>
                    <a:pt x="587375" y="979488"/>
                  </a:cubicBezTo>
                  <a:cubicBezTo>
                    <a:pt x="587375" y="988147"/>
                    <a:pt x="580237" y="995363"/>
                    <a:pt x="571671" y="995363"/>
                  </a:cubicBezTo>
                  <a:cubicBezTo>
                    <a:pt x="571671" y="995363"/>
                    <a:pt x="571671" y="995363"/>
                    <a:pt x="283992" y="995363"/>
                  </a:cubicBezTo>
                  <a:cubicBezTo>
                    <a:pt x="275426" y="995363"/>
                    <a:pt x="268287" y="988147"/>
                    <a:pt x="268287" y="979488"/>
                  </a:cubicBezTo>
                  <a:cubicBezTo>
                    <a:pt x="268287" y="970107"/>
                    <a:pt x="275426" y="963613"/>
                    <a:pt x="283992" y="963613"/>
                  </a:cubicBezTo>
                  <a:close/>
                  <a:moveTo>
                    <a:pt x="15684" y="952500"/>
                  </a:moveTo>
                  <a:cubicBezTo>
                    <a:pt x="15684" y="952500"/>
                    <a:pt x="15684" y="952500"/>
                    <a:pt x="138304" y="952500"/>
                  </a:cubicBezTo>
                  <a:cubicBezTo>
                    <a:pt x="146859" y="952500"/>
                    <a:pt x="153988" y="959629"/>
                    <a:pt x="153988" y="968184"/>
                  </a:cubicBezTo>
                  <a:cubicBezTo>
                    <a:pt x="153988" y="968184"/>
                    <a:pt x="153988" y="968184"/>
                    <a:pt x="153988" y="1090804"/>
                  </a:cubicBezTo>
                  <a:cubicBezTo>
                    <a:pt x="153988" y="1099359"/>
                    <a:pt x="146859" y="1106488"/>
                    <a:pt x="138304" y="1106488"/>
                  </a:cubicBezTo>
                  <a:cubicBezTo>
                    <a:pt x="138304" y="1106488"/>
                    <a:pt x="138304" y="1106488"/>
                    <a:pt x="15684" y="1106488"/>
                  </a:cubicBezTo>
                  <a:cubicBezTo>
                    <a:pt x="7129" y="1106488"/>
                    <a:pt x="0" y="1099359"/>
                    <a:pt x="0" y="1090804"/>
                  </a:cubicBezTo>
                  <a:cubicBezTo>
                    <a:pt x="0" y="1090804"/>
                    <a:pt x="0" y="1090804"/>
                    <a:pt x="0" y="968184"/>
                  </a:cubicBezTo>
                  <a:cubicBezTo>
                    <a:pt x="0" y="959629"/>
                    <a:pt x="7129" y="952500"/>
                    <a:pt x="15684" y="952500"/>
                  </a:cubicBezTo>
                  <a:close/>
                  <a:moveTo>
                    <a:pt x="283992" y="781050"/>
                  </a:moveTo>
                  <a:cubicBezTo>
                    <a:pt x="283992" y="781050"/>
                    <a:pt x="283992" y="781050"/>
                    <a:pt x="571671" y="781050"/>
                  </a:cubicBezTo>
                  <a:cubicBezTo>
                    <a:pt x="580237" y="781050"/>
                    <a:pt x="587375" y="787544"/>
                    <a:pt x="587375" y="796925"/>
                  </a:cubicBezTo>
                  <a:cubicBezTo>
                    <a:pt x="587375" y="805584"/>
                    <a:pt x="580237" y="812800"/>
                    <a:pt x="571671" y="812800"/>
                  </a:cubicBezTo>
                  <a:cubicBezTo>
                    <a:pt x="571671" y="812800"/>
                    <a:pt x="571671" y="812800"/>
                    <a:pt x="283992" y="812800"/>
                  </a:cubicBezTo>
                  <a:cubicBezTo>
                    <a:pt x="275426" y="812800"/>
                    <a:pt x="268287" y="805584"/>
                    <a:pt x="268287" y="796925"/>
                  </a:cubicBezTo>
                  <a:cubicBezTo>
                    <a:pt x="268287" y="787544"/>
                    <a:pt x="275426" y="781050"/>
                    <a:pt x="283992" y="781050"/>
                  </a:cubicBezTo>
                  <a:close/>
                  <a:moveTo>
                    <a:pt x="31750" y="703263"/>
                  </a:moveTo>
                  <a:lnTo>
                    <a:pt x="31750" y="795338"/>
                  </a:lnTo>
                  <a:lnTo>
                    <a:pt x="122238" y="795338"/>
                  </a:lnTo>
                  <a:lnTo>
                    <a:pt x="122238" y="703263"/>
                  </a:lnTo>
                  <a:close/>
                  <a:moveTo>
                    <a:pt x="283992" y="679450"/>
                  </a:moveTo>
                  <a:cubicBezTo>
                    <a:pt x="283992" y="679450"/>
                    <a:pt x="283992" y="679450"/>
                    <a:pt x="571671" y="679450"/>
                  </a:cubicBezTo>
                  <a:cubicBezTo>
                    <a:pt x="580237" y="679450"/>
                    <a:pt x="587375" y="686666"/>
                    <a:pt x="587375" y="695325"/>
                  </a:cubicBezTo>
                  <a:cubicBezTo>
                    <a:pt x="587375" y="703984"/>
                    <a:pt x="580237" y="711200"/>
                    <a:pt x="571671" y="711200"/>
                  </a:cubicBezTo>
                  <a:cubicBezTo>
                    <a:pt x="571671" y="711200"/>
                    <a:pt x="571671" y="711200"/>
                    <a:pt x="283992" y="711200"/>
                  </a:cubicBezTo>
                  <a:cubicBezTo>
                    <a:pt x="275426" y="711200"/>
                    <a:pt x="268287" y="703984"/>
                    <a:pt x="268287" y="695325"/>
                  </a:cubicBezTo>
                  <a:cubicBezTo>
                    <a:pt x="268287" y="686666"/>
                    <a:pt x="275426" y="679450"/>
                    <a:pt x="283992" y="679450"/>
                  </a:cubicBezTo>
                  <a:close/>
                  <a:moveTo>
                    <a:pt x="15684" y="671513"/>
                  </a:moveTo>
                  <a:cubicBezTo>
                    <a:pt x="15684" y="671513"/>
                    <a:pt x="15684" y="671513"/>
                    <a:pt x="138304" y="671513"/>
                  </a:cubicBezTo>
                  <a:cubicBezTo>
                    <a:pt x="146859" y="671513"/>
                    <a:pt x="153988" y="678642"/>
                    <a:pt x="153988" y="687197"/>
                  </a:cubicBezTo>
                  <a:cubicBezTo>
                    <a:pt x="153988" y="687197"/>
                    <a:pt x="153988" y="687197"/>
                    <a:pt x="153988" y="809817"/>
                  </a:cubicBezTo>
                  <a:cubicBezTo>
                    <a:pt x="153988" y="818372"/>
                    <a:pt x="146859" y="825501"/>
                    <a:pt x="138304" y="825501"/>
                  </a:cubicBezTo>
                  <a:cubicBezTo>
                    <a:pt x="138304" y="825501"/>
                    <a:pt x="138304" y="825501"/>
                    <a:pt x="15684" y="825501"/>
                  </a:cubicBezTo>
                  <a:cubicBezTo>
                    <a:pt x="7129" y="825501"/>
                    <a:pt x="0" y="818372"/>
                    <a:pt x="0" y="809817"/>
                  </a:cubicBezTo>
                  <a:cubicBezTo>
                    <a:pt x="0" y="809817"/>
                    <a:pt x="0" y="809817"/>
                    <a:pt x="0" y="687197"/>
                  </a:cubicBezTo>
                  <a:cubicBezTo>
                    <a:pt x="0" y="678642"/>
                    <a:pt x="7129" y="671513"/>
                    <a:pt x="15684" y="671513"/>
                  </a:cubicBezTo>
                  <a:close/>
                  <a:moveTo>
                    <a:pt x="283992" y="498475"/>
                  </a:moveTo>
                  <a:cubicBezTo>
                    <a:pt x="283992" y="498475"/>
                    <a:pt x="283992" y="498475"/>
                    <a:pt x="571671" y="498475"/>
                  </a:cubicBezTo>
                  <a:cubicBezTo>
                    <a:pt x="580237" y="498475"/>
                    <a:pt x="587375" y="505330"/>
                    <a:pt x="587375" y="513557"/>
                  </a:cubicBezTo>
                  <a:cubicBezTo>
                    <a:pt x="587375" y="521783"/>
                    <a:pt x="580237" y="528638"/>
                    <a:pt x="571671" y="528638"/>
                  </a:cubicBezTo>
                  <a:cubicBezTo>
                    <a:pt x="571671" y="528638"/>
                    <a:pt x="571671" y="528638"/>
                    <a:pt x="283992" y="528638"/>
                  </a:cubicBezTo>
                  <a:cubicBezTo>
                    <a:pt x="275426" y="528638"/>
                    <a:pt x="268287" y="521783"/>
                    <a:pt x="268287" y="513557"/>
                  </a:cubicBezTo>
                  <a:cubicBezTo>
                    <a:pt x="268287" y="505330"/>
                    <a:pt x="275426" y="498475"/>
                    <a:pt x="283992" y="498475"/>
                  </a:cubicBezTo>
                  <a:close/>
                  <a:moveTo>
                    <a:pt x="31750" y="419100"/>
                  </a:moveTo>
                  <a:lnTo>
                    <a:pt x="31750" y="509588"/>
                  </a:lnTo>
                  <a:lnTo>
                    <a:pt x="122238" y="509588"/>
                  </a:lnTo>
                  <a:lnTo>
                    <a:pt x="122238" y="419100"/>
                  </a:lnTo>
                  <a:close/>
                  <a:moveTo>
                    <a:pt x="283992" y="396875"/>
                  </a:moveTo>
                  <a:cubicBezTo>
                    <a:pt x="283992" y="396875"/>
                    <a:pt x="283992" y="396875"/>
                    <a:pt x="571671" y="396875"/>
                  </a:cubicBezTo>
                  <a:cubicBezTo>
                    <a:pt x="580237" y="396875"/>
                    <a:pt x="587375" y="404091"/>
                    <a:pt x="587375" y="412750"/>
                  </a:cubicBezTo>
                  <a:cubicBezTo>
                    <a:pt x="587375" y="421409"/>
                    <a:pt x="580237" y="428625"/>
                    <a:pt x="571671" y="428625"/>
                  </a:cubicBezTo>
                  <a:cubicBezTo>
                    <a:pt x="571671" y="428625"/>
                    <a:pt x="571671" y="428625"/>
                    <a:pt x="283992" y="428625"/>
                  </a:cubicBezTo>
                  <a:cubicBezTo>
                    <a:pt x="275426" y="428625"/>
                    <a:pt x="268287" y="421409"/>
                    <a:pt x="268287" y="412750"/>
                  </a:cubicBezTo>
                  <a:cubicBezTo>
                    <a:pt x="268287" y="404091"/>
                    <a:pt x="275426" y="396875"/>
                    <a:pt x="283992" y="396875"/>
                  </a:cubicBezTo>
                  <a:close/>
                  <a:moveTo>
                    <a:pt x="15684" y="387350"/>
                  </a:moveTo>
                  <a:cubicBezTo>
                    <a:pt x="15684" y="387350"/>
                    <a:pt x="15684" y="387350"/>
                    <a:pt x="138304" y="387350"/>
                  </a:cubicBezTo>
                  <a:cubicBezTo>
                    <a:pt x="146859" y="387350"/>
                    <a:pt x="153988" y="394479"/>
                    <a:pt x="153988" y="403034"/>
                  </a:cubicBezTo>
                  <a:cubicBezTo>
                    <a:pt x="153988" y="403034"/>
                    <a:pt x="153988" y="403034"/>
                    <a:pt x="153988" y="525654"/>
                  </a:cubicBezTo>
                  <a:cubicBezTo>
                    <a:pt x="153988" y="534209"/>
                    <a:pt x="146859" y="541338"/>
                    <a:pt x="138304" y="541338"/>
                  </a:cubicBezTo>
                  <a:cubicBezTo>
                    <a:pt x="138304" y="541338"/>
                    <a:pt x="138304" y="541338"/>
                    <a:pt x="15684" y="541338"/>
                  </a:cubicBezTo>
                  <a:cubicBezTo>
                    <a:pt x="7129" y="541338"/>
                    <a:pt x="0" y="534209"/>
                    <a:pt x="0" y="525654"/>
                  </a:cubicBezTo>
                  <a:cubicBezTo>
                    <a:pt x="0" y="525654"/>
                    <a:pt x="0" y="525654"/>
                    <a:pt x="0" y="403034"/>
                  </a:cubicBezTo>
                  <a:cubicBezTo>
                    <a:pt x="0" y="394479"/>
                    <a:pt x="7129" y="387350"/>
                    <a:pt x="15684" y="387350"/>
                  </a:cubicBezTo>
                  <a:close/>
                  <a:moveTo>
                    <a:pt x="293687" y="31750"/>
                  </a:moveTo>
                  <a:cubicBezTo>
                    <a:pt x="285730" y="31750"/>
                    <a:pt x="277772" y="33147"/>
                    <a:pt x="270538" y="35941"/>
                  </a:cubicBezTo>
                  <a:cubicBezTo>
                    <a:pt x="255346" y="41529"/>
                    <a:pt x="243771" y="52705"/>
                    <a:pt x="236537" y="66675"/>
                  </a:cubicBezTo>
                  <a:cubicBezTo>
                    <a:pt x="236537" y="66675"/>
                    <a:pt x="236537" y="66675"/>
                    <a:pt x="350837" y="66675"/>
                  </a:cubicBezTo>
                  <a:cubicBezTo>
                    <a:pt x="343603" y="52705"/>
                    <a:pt x="332028" y="41529"/>
                    <a:pt x="316837" y="35941"/>
                  </a:cubicBezTo>
                  <a:cubicBezTo>
                    <a:pt x="309602" y="33147"/>
                    <a:pt x="301645" y="31750"/>
                    <a:pt x="293687" y="31750"/>
                  </a:cubicBezTo>
                  <a:close/>
                  <a:moveTo>
                    <a:pt x="293688" y="0"/>
                  </a:moveTo>
                  <a:cubicBezTo>
                    <a:pt x="323789" y="0"/>
                    <a:pt x="350306" y="13491"/>
                    <a:pt x="367506" y="35502"/>
                  </a:cubicBezTo>
                  <a:cubicBezTo>
                    <a:pt x="374673" y="44733"/>
                    <a:pt x="380407" y="55384"/>
                    <a:pt x="383990" y="66745"/>
                  </a:cubicBezTo>
                  <a:cubicBezTo>
                    <a:pt x="383990" y="66745"/>
                    <a:pt x="383990" y="66745"/>
                    <a:pt x="434158" y="66745"/>
                  </a:cubicBezTo>
                  <a:cubicBezTo>
                    <a:pt x="438458" y="66745"/>
                    <a:pt x="441325" y="69585"/>
                    <a:pt x="441325" y="73845"/>
                  </a:cubicBezTo>
                  <a:cubicBezTo>
                    <a:pt x="441325" y="73845"/>
                    <a:pt x="441325" y="73845"/>
                    <a:pt x="441325" y="115028"/>
                  </a:cubicBezTo>
                  <a:cubicBezTo>
                    <a:pt x="441325" y="115028"/>
                    <a:pt x="441325" y="115028"/>
                    <a:pt x="441325" y="146270"/>
                  </a:cubicBezTo>
                  <a:cubicBezTo>
                    <a:pt x="441325" y="146270"/>
                    <a:pt x="441325" y="146270"/>
                    <a:pt x="441325" y="179642"/>
                  </a:cubicBezTo>
                  <a:cubicBezTo>
                    <a:pt x="441325" y="188163"/>
                    <a:pt x="434158" y="195263"/>
                    <a:pt x="425558" y="195263"/>
                  </a:cubicBezTo>
                  <a:cubicBezTo>
                    <a:pt x="425558" y="195263"/>
                    <a:pt x="425558" y="195263"/>
                    <a:pt x="161817" y="195263"/>
                  </a:cubicBezTo>
                  <a:cubicBezTo>
                    <a:pt x="153217" y="195263"/>
                    <a:pt x="146050" y="188163"/>
                    <a:pt x="146050" y="179642"/>
                  </a:cubicBezTo>
                  <a:cubicBezTo>
                    <a:pt x="146050" y="179642"/>
                    <a:pt x="146050" y="179642"/>
                    <a:pt x="146050" y="146270"/>
                  </a:cubicBezTo>
                  <a:cubicBezTo>
                    <a:pt x="146050" y="146270"/>
                    <a:pt x="146050" y="146270"/>
                    <a:pt x="146050" y="115028"/>
                  </a:cubicBezTo>
                  <a:cubicBezTo>
                    <a:pt x="146050" y="115028"/>
                    <a:pt x="146050" y="115028"/>
                    <a:pt x="146050" y="73845"/>
                  </a:cubicBezTo>
                  <a:cubicBezTo>
                    <a:pt x="146050" y="69585"/>
                    <a:pt x="148917" y="66745"/>
                    <a:pt x="153217" y="66745"/>
                  </a:cubicBezTo>
                  <a:cubicBezTo>
                    <a:pt x="153217" y="66745"/>
                    <a:pt x="153217" y="66745"/>
                    <a:pt x="203385" y="66745"/>
                  </a:cubicBezTo>
                  <a:cubicBezTo>
                    <a:pt x="206969" y="55384"/>
                    <a:pt x="212702" y="44733"/>
                    <a:pt x="219869" y="35502"/>
                  </a:cubicBezTo>
                  <a:cubicBezTo>
                    <a:pt x="237069" y="13491"/>
                    <a:pt x="263587" y="0"/>
                    <a:pt x="293688" y="0"/>
                  </a:cubicBezTo>
                  <a:close/>
                </a:path>
              </a:pathLst>
            </a:custGeom>
            <a:solidFill>
              <a:srgbClr val="5D78D1">
                <a:lumMod val="10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665" tIns="34332" rIns="68665" bIns="34332" numCol="1" anchor="t" anchorCtr="0" compatLnSpc="1">
              <a:prstTxWarp prst="textNoShape">
                <a:avLst/>
              </a:prstTxWarp>
              <a:noAutofit/>
            </a:bodyPr>
            <a:lstStyle/>
            <a:p>
              <a:pPr hangingPunct="0">
                <a:defRPr/>
              </a:pPr>
              <a:endParaRPr lang="en-US" sz="14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Roboto Regular"/>
              </a:endParaRPr>
            </a:p>
          </p:txBody>
        </p:sp>
      </p:grpSp>
      <p:grpSp>
        <p:nvGrpSpPr>
          <p:cNvPr id="136" name="Группа 135"/>
          <p:cNvGrpSpPr/>
          <p:nvPr/>
        </p:nvGrpSpPr>
        <p:grpSpPr>
          <a:xfrm>
            <a:off x="10250648" y="3502518"/>
            <a:ext cx="959255" cy="666251"/>
            <a:chOff x="10250648" y="3502518"/>
            <a:chExt cx="959255" cy="666251"/>
          </a:xfrm>
        </p:grpSpPr>
        <p:grpSp>
          <p:nvGrpSpPr>
            <p:cNvPr id="121" name="Группа 120"/>
            <p:cNvGrpSpPr/>
            <p:nvPr/>
          </p:nvGrpSpPr>
          <p:grpSpPr>
            <a:xfrm>
              <a:off x="10250648" y="3663514"/>
              <a:ext cx="346946" cy="505255"/>
              <a:chOff x="905026" y="2261248"/>
              <a:chExt cx="346946" cy="505255"/>
            </a:xfrm>
          </p:grpSpPr>
          <p:sp>
            <p:nvSpPr>
              <p:cNvPr id="122" name="Freeform 201"/>
              <p:cNvSpPr>
                <a:spLocks/>
              </p:cNvSpPr>
              <p:nvPr/>
            </p:nvSpPr>
            <p:spPr bwMode="auto">
              <a:xfrm>
                <a:off x="905026" y="2305526"/>
                <a:ext cx="346946" cy="460977"/>
              </a:xfrm>
              <a:custGeom>
                <a:avLst/>
                <a:gdLst>
                  <a:gd name="connsiteX0" fmla="*/ 322278 w 908050"/>
                  <a:gd name="connsiteY0" fmla="*/ 827162 h 1206500"/>
                  <a:gd name="connsiteX1" fmla="*/ 344412 w 908050"/>
                  <a:gd name="connsiteY1" fmla="*/ 827162 h 1206500"/>
                  <a:gd name="connsiteX2" fmla="*/ 344412 w 908050"/>
                  <a:gd name="connsiteY2" fmla="*/ 849293 h 1206500"/>
                  <a:gd name="connsiteX3" fmla="*/ 257305 w 908050"/>
                  <a:gd name="connsiteY3" fmla="*/ 936390 h 1206500"/>
                  <a:gd name="connsiteX4" fmla="*/ 246595 w 908050"/>
                  <a:gd name="connsiteY4" fmla="*/ 941387 h 1206500"/>
                  <a:gd name="connsiteX5" fmla="*/ 235171 w 908050"/>
                  <a:gd name="connsiteY5" fmla="*/ 936390 h 1206500"/>
                  <a:gd name="connsiteX6" fmla="*/ 207325 w 908050"/>
                  <a:gd name="connsiteY6" fmla="*/ 909261 h 1206500"/>
                  <a:gd name="connsiteX7" fmla="*/ 207325 w 908050"/>
                  <a:gd name="connsiteY7" fmla="*/ 887130 h 1206500"/>
                  <a:gd name="connsiteX8" fmla="*/ 229459 w 908050"/>
                  <a:gd name="connsiteY8" fmla="*/ 887130 h 1206500"/>
                  <a:gd name="connsiteX9" fmla="*/ 246595 w 908050"/>
                  <a:gd name="connsiteY9" fmla="*/ 903550 h 1206500"/>
                  <a:gd name="connsiteX10" fmla="*/ 322278 w 908050"/>
                  <a:gd name="connsiteY10" fmla="*/ 827162 h 1206500"/>
                  <a:gd name="connsiteX11" fmla="*/ 322278 w 908050"/>
                  <a:gd name="connsiteY11" fmla="*/ 545495 h 1206500"/>
                  <a:gd name="connsiteX12" fmla="*/ 344412 w 908050"/>
                  <a:gd name="connsiteY12" fmla="*/ 545495 h 1206500"/>
                  <a:gd name="connsiteX13" fmla="*/ 344412 w 908050"/>
                  <a:gd name="connsiteY13" fmla="*/ 567758 h 1206500"/>
                  <a:gd name="connsiteX14" fmla="*/ 257305 w 908050"/>
                  <a:gd name="connsiteY14" fmla="*/ 656091 h 1206500"/>
                  <a:gd name="connsiteX15" fmla="*/ 246595 w 908050"/>
                  <a:gd name="connsiteY15" fmla="*/ 660400 h 1206500"/>
                  <a:gd name="connsiteX16" fmla="*/ 235171 w 908050"/>
                  <a:gd name="connsiteY16" fmla="*/ 656091 h 1206500"/>
                  <a:gd name="connsiteX17" fmla="*/ 207325 w 908050"/>
                  <a:gd name="connsiteY17" fmla="*/ 628083 h 1206500"/>
                  <a:gd name="connsiteX18" fmla="*/ 207325 w 908050"/>
                  <a:gd name="connsiteY18" fmla="*/ 605820 h 1206500"/>
                  <a:gd name="connsiteX19" fmla="*/ 229459 w 908050"/>
                  <a:gd name="connsiteY19" fmla="*/ 605820 h 1206500"/>
                  <a:gd name="connsiteX20" fmla="*/ 246595 w 908050"/>
                  <a:gd name="connsiteY20" fmla="*/ 622338 h 1206500"/>
                  <a:gd name="connsiteX21" fmla="*/ 322278 w 908050"/>
                  <a:gd name="connsiteY21" fmla="*/ 545495 h 1206500"/>
                  <a:gd name="connsiteX22" fmla="*/ 322278 w 908050"/>
                  <a:gd name="connsiteY22" fmla="*/ 261332 h 1206500"/>
                  <a:gd name="connsiteX23" fmla="*/ 344412 w 908050"/>
                  <a:gd name="connsiteY23" fmla="*/ 261332 h 1206500"/>
                  <a:gd name="connsiteX24" fmla="*/ 344412 w 908050"/>
                  <a:gd name="connsiteY24" fmla="*/ 283595 h 1206500"/>
                  <a:gd name="connsiteX25" fmla="*/ 257305 w 908050"/>
                  <a:gd name="connsiteY25" fmla="*/ 371928 h 1206500"/>
                  <a:gd name="connsiteX26" fmla="*/ 246595 w 908050"/>
                  <a:gd name="connsiteY26" fmla="*/ 376237 h 1206500"/>
                  <a:gd name="connsiteX27" fmla="*/ 235171 w 908050"/>
                  <a:gd name="connsiteY27" fmla="*/ 371928 h 1206500"/>
                  <a:gd name="connsiteX28" fmla="*/ 207325 w 908050"/>
                  <a:gd name="connsiteY28" fmla="*/ 343920 h 1206500"/>
                  <a:gd name="connsiteX29" fmla="*/ 207325 w 908050"/>
                  <a:gd name="connsiteY29" fmla="*/ 321657 h 1206500"/>
                  <a:gd name="connsiteX30" fmla="*/ 229459 w 908050"/>
                  <a:gd name="connsiteY30" fmla="*/ 321657 h 1206500"/>
                  <a:gd name="connsiteX31" fmla="*/ 246595 w 908050"/>
                  <a:gd name="connsiteY31" fmla="*/ 338175 h 1206500"/>
                  <a:gd name="connsiteX32" fmla="*/ 322278 w 908050"/>
                  <a:gd name="connsiteY32" fmla="*/ 261332 h 1206500"/>
                  <a:gd name="connsiteX33" fmla="*/ 15681 w 908050"/>
                  <a:gd name="connsiteY33" fmla="*/ 0 h 1206500"/>
                  <a:gd name="connsiteX34" fmla="*/ 275836 w 908050"/>
                  <a:gd name="connsiteY34" fmla="*/ 0 h 1206500"/>
                  <a:gd name="connsiteX35" fmla="*/ 275836 w 908050"/>
                  <a:gd name="connsiteY35" fmla="*/ 31412 h 1206500"/>
                  <a:gd name="connsiteX36" fmla="*/ 31361 w 908050"/>
                  <a:gd name="connsiteY36" fmla="*/ 31412 h 1206500"/>
                  <a:gd name="connsiteX37" fmla="*/ 31361 w 908050"/>
                  <a:gd name="connsiteY37" fmla="*/ 1175088 h 1206500"/>
                  <a:gd name="connsiteX38" fmla="*/ 876689 w 908050"/>
                  <a:gd name="connsiteY38" fmla="*/ 1175088 h 1206500"/>
                  <a:gd name="connsiteX39" fmla="*/ 876689 w 908050"/>
                  <a:gd name="connsiteY39" fmla="*/ 31412 h 1206500"/>
                  <a:gd name="connsiteX40" fmla="*/ 632214 w 908050"/>
                  <a:gd name="connsiteY40" fmla="*/ 31412 h 1206500"/>
                  <a:gd name="connsiteX41" fmla="*/ 632214 w 908050"/>
                  <a:gd name="connsiteY41" fmla="*/ 0 h 1206500"/>
                  <a:gd name="connsiteX42" fmla="*/ 892370 w 908050"/>
                  <a:gd name="connsiteY42" fmla="*/ 0 h 1206500"/>
                  <a:gd name="connsiteX43" fmla="*/ 908050 w 908050"/>
                  <a:gd name="connsiteY43" fmla="*/ 15706 h 1206500"/>
                  <a:gd name="connsiteX44" fmla="*/ 908050 w 908050"/>
                  <a:gd name="connsiteY44" fmla="*/ 1190794 h 1206500"/>
                  <a:gd name="connsiteX45" fmla="*/ 892370 w 908050"/>
                  <a:gd name="connsiteY45" fmla="*/ 1206500 h 1206500"/>
                  <a:gd name="connsiteX46" fmla="*/ 15681 w 908050"/>
                  <a:gd name="connsiteY46" fmla="*/ 1206500 h 1206500"/>
                  <a:gd name="connsiteX47" fmla="*/ 0 w 908050"/>
                  <a:gd name="connsiteY47" fmla="*/ 1190794 h 1206500"/>
                  <a:gd name="connsiteX48" fmla="*/ 0 w 908050"/>
                  <a:gd name="connsiteY48" fmla="*/ 15706 h 1206500"/>
                  <a:gd name="connsiteX49" fmla="*/ 15681 w 908050"/>
                  <a:gd name="connsiteY49" fmla="*/ 0 h 1206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908050" h="1206500">
                    <a:moveTo>
                      <a:pt x="322278" y="827162"/>
                    </a:moveTo>
                    <a:cubicBezTo>
                      <a:pt x="328704" y="820737"/>
                      <a:pt x="338700" y="820737"/>
                      <a:pt x="344412" y="827162"/>
                    </a:cubicBezTo>
                    <a:cubicBezTo>
                      <a:pt x="350838" y="833587"/>
                      <a:pt x="350838" y="843582"/>
                      <a:pt x="344412" y="849293"/>
                    </a:cubicBezTo>
                    <a:cubicBezTo>
                      <a:pt x="257305" y="936390"/>
                      <a:pt x="257305" y="936390"/>
                      <a:pt x="257305" y="936390"/>
                    </a:cubicBezTo>
                    <a:cubicBezTo>
                      <a:pt x="254449" y="939959"/>
                      <a:pt x="250165" y="941387"/>
                      <a:pt x="246595" y="941387"/>
                    </a:cubicBezTo>
                    <a:cubicBezTo>
                      <a:pt x="242311" y="941387"/>
                      <a:pt x="238027" y="939959"/>
                      <a:pt x="235171" y="936390"/>
                    </a:cubicBezTo>
                    <a:cubicBezTo>
                      <a:pt x="207325" y="909261"/>
                      <a:pt x="207325" y="909261"/>
                      <a:pt x="207325" y="909261"/>
                    </a:cubicBezTo>
                    <a:cubicBezTo>
                      <a:pt x="201613" y="902836"/>
                      <a:pt x="201613" y="892842"/>
                      <a:pt x="207325" y="887130"/>
                    </a:cubicBezTo>
                    <a:cubicBezTo>
                      <a:pt x="213751" y="880705"/>
                      <a:pt x="223747" y="880705"/>
                      <a:pt x="229459" y="887130"/>
                    </a:cubicBezTo>
                    <a:cubicBezTo>
                      <a:pt x="246595" y="903550"/>
                      <a:pt x="246595" y="903550"/>
                      <a:pt x="246595" y="903550"/>
                    </a:cubicBezTo>
                    <a:cubicBezTo>
                      <a:pt x="322278" y="827162"/>
                      <a:pt x="322278" y="827162"/>
                      <a:pt x="322278" y="827162"/>
                    </a:cubicBezTo>
                    <a:close/>
                    <a:moveTo>
                      <a:pt x="322278" y="545495"/>
                    </a:moveTo>
                    <a:cubicBezTo>
                      <a:pt x="328704" y="539750"/>
                      <a:pt x="338700" y="539750"/>
                      <a:pt x="344412" y="545495"/>
                    </a:cubicBezTo>
                    <a:cubicBezTo>
                      <a:pt x="350838" y="551959"/>
                      <a:pt x="350838" y="562013"/>
                      <a:pt x="344412" y="567758"/>
                    </a:cubicBezTo>
                    <a:cubicBezTo>
                      <a:pt x="257305" y="656091"/>
                      <a:pt x="257305" y="656091"/>
                      <a:pt x="257305" y="656091"/>
                    </a:cubicBezTo>
                    <a:cubicBezTo>
                      <a:pt x="254449" y="658964"/>
                      <a:pt x="250165" y="660400"/>
                      <a:pt x="246595" y="660400"/>
                    </a:cubicBezTo>
                    <a:cubicBezTo>
                      <a:pt x="242311" y="660400"/>
                      <a:pt x="238027" y="658964"/>
                      <a:pt x="235171" y="656091"/>
                    </a:cubicBezTo>
                    <a:cubicBezTo>
                      <a:pt x="207325" y="628083"/>
                      <a:pt x="207325" y="628083"/>
                      <a:pt x="207325" y="628083"/>
                    </a:cubicBezTo>
                    <a:cubicBezTo>
                      <a:pt x="201613" y="622338"/>
                      <a:pt x="201613" y="612284"/>
                      <a:pt x="207325" y="605820"/>
                    </a:cubicBezTo>
                    <a:cubicBezTo>
                      <a:pt x="213751" y="599357"/>
                      <a:pt x="223747" y="599357"/>
                      <a:pt x="229459" y="605820"/>
                    </a:cubicBezTo>
                    <a:cubicBezTo>
                      <a:pt x="246595" y="622338"/>
                      <a:pt x="246595" y="622338"/>
                      <a:pt x="246595" y="622338"/>
                    </a:cubicBezTo>
                    <a:cubicBezTo>
                      <a:pt x="322278" y="545495"/>
                      <a:pt x="322278" y="545495"/>
                      <a:pt x="322278" y="545495"/>
                    </a:cubicBezTo>
                    <a:close/>
                    <a:moveTo>
                      <a:pt x="322278" y="261332"/>
                    </a:moveTo>
                    <a:cubicBezTo>
                      <a:pt x="328704" y="255587"/>
                      <a:pt x="338700" y="255587"/>
                      <a:pt x="344412" y="261332"/>
                    </a:cubicBezTo>
                    <a:cubicBezTo>
                      <a:pt x="350838" y="267796"/>
                      <a:pt x="350838" y="277850"/>
                      <a:pt x="344412" y="283595"/>
                    </a:cubicBezTo>
                    <a:cubicBezTo>
                      <a:pt x="257305" y="371928"/>
                      <a:pt x="257305" y="371928"/>
                      <a:pt x="257305" y="371928"/>
                    </a:cubicBezTo>
                    <a:cubicBezTo>
                      <a:pt x="254449" y="374801"/>
                      <a:pt x="250165" y="376237"/>
                      <a:pt x="246595" y="376237"/>
                    </a:cubicBezTo>
                    <a:cubicBezTo>
                      <a:pt x="242311" y="376237"/>
                      <a:pt x="238027" y="374801"/>
                      <a:pt x="235171" y="371928"/>
                    </a:cubicBezTo>
                    <a:cubicBezTo>
                      <a:pt x="207325" y="343920"/>
                      <a:pt x="207325" y="343920"/>
                      <a:pt x="207325" y="343920"/>
                    </a:cubicBezTo>
                    <a:cubicBezTo>
                      <a:pt x="201613" y="337457"/>
                      <a:pt x="201613" y="327403"/>
                      <a:pt x="207325" y="321657"/>
                    </a:cubicBezTo>
                    <a:cubicBezTo>
                      <a:pt x="213751" y="315194"/>
                      <a:pt x="223747" y="315194"/>
                      <a:pt x="229459" y="321657"/>
                    </a:cubicBezTo>
                    <a:cubicBezTo>
                      <a:pt x="246595" y="338175"/>
                      <a:pt x="246595" y="338175"/>
                      <a:pt x="246595" y="338175"/>
                    </a:cubicBezTo>
                    <a:cubicBezTo>
                      <a:pt x="322278" y="261332"/>
                      <a:pt x="322278" y="261332"/>
                      <a:pt x="322278" y="261332"/>
                    </a:cubicBezTo>
                    <a:close/>
                    <a:moveTo>
                      <a:pt x="15681" y="0"/>
                    </a:moveTo>
                    <a:cubicBezTo>
                      <a:pt x="15681" y="0"/>
                      <a:pt x="15681" y="0"/>
                      <a:pt x="275836" y="0"/>
                    </a:cubicBezTo>
                    <a:cubicBezTo>
                      <a:pt x="275836" y="0"/>
                      <a:pt x="275836" y="0"/>
                      <a:pt x="275836" y="31412"/>
                    </a:cubicBezTo>
                    <a:cubicBezTo>
                      <a:pt x="275836" y="31412"/>
                      <a:pt x="275836" y="31412"/>
                      <a:pt x="31361" y="31412"/>
                    </a:cubicBezTo>
                    <a:cubicBezTo>
                      <a:pt x="31361" y="31412"/>
                      <a:pt x="31361" y="31412"/>
                      <a:pt x="31361" y="1175088"/>
                    </a:cubicBezTo>
                    <a:cubicBezTo>
                      <a:pt x="31361" y="1175088"/>
                      <a:pt x="31361" y="1175088"/>
                      <a:pt x="876689" y="1175088"/>
                    </a:cubicBezTo>
                    <a:cubicBezTo>
                      <a:pt x="876689" y="1175088"/>
                      <a:pt x="876689" y="1175088"/>
                      <a:pt x="876689" y="31412"/>
                    </a:cubicBezTo>
                    <a:cubicBezTo>
                      <a:pt x="876689" y="31412"/>
                      <a:pt x="876689" y="31412"/>
                      <a:pt x="632214" y="31412"/>
                    </a:cubicBezTo>
                    <a:cubicBezTo>
                      <a:pt x="632214" y="31412"/>
                      <a:pt x="632214" y="31412"/>
                      <a:pt x="632214" y="0"/>
                    </a:cubicBezTo>
                    <a:cubicBezTo>
                      <a:pt x="632214" y="0"/>
                      <a:pt x="632214" y="0"/>
                      <a:pt x="892370" y="0"/>
                    </a:cubicBezTo>
                    <a:cubicBezTo>
                      <a:pt x="900923" y="0"/>
                      <a:pt x="908050" y="7139"/>
                      <a:pt x="908050" y="15706"/>
                    </a:cubicBezTo>
                    <a:cubicBezTo>
                      <a:pt x="908050" y="15706"/>
                      <a:pt x="908050" y="15706"/>
                      <a:pt x="908050" y="1190794"/>
                    </a:cubicBezTo>
                    <a:cubicBezTo>
                      <a:pt x="908050" y="1199361"/>
                      <a:pt x="900923" y="1206500"/>
                      <a:pt x="892370" y="1206500"/>
                    </a:cubicBezTo>
                    <a:cubicBezTo>
                      <a:pt x="892370" y="1206500"/>
                      <a:pt x="892370" y="1206500"/>
                      <a:pt x="15681" y="1206500"/>
                    </a:cubicBezTo>
                    <a:cubicBezTo>
                      <a:pt x="7128" y="1206500"/>
                      <a:pt x="0" y="1199361"/>
                      <a:pt x="0" y="1190794"/>
                    </a:cubicBezTo>
                    <a:cubicBezTo>
                      <a:pt x="0" y="1190794"/>
                      <a:pt x="0" y="1190794"/>
                      <a:pt x="0" y="15706"/>
                    </a:cubicBezTo>
                    <a:cubicBezTo>
                      <a:pt x="0" y="7139"/>
                      <a:pt x="7128" y="0"/>
                      <a:pt x="15681" y="0"/>
                    </a:cubicBezTo>
                    <a:close/>
                  </a:path>
                </a:pathLst>
              </a:custGeom>
              <a:solidFill>
                <a:srgbClr val="283B8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4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3" name="Freeform 202"/>
              <p:cNvSpPr>
                <a:spLocks/>
              </p:cNvSpPr>
              <p:nvPr/>
            </p:nvSpPr>
            <p:spPr bwMode="auto">
              <a:xfrm>
                <a:off x="966288" y="2261248"/>
                <a:ext cx="224423" cy="423371"/>
              </a:xfrm>
              <a:custGeom>
                <a:avLst/>
                <a:gdLst>
                  <a:gd name="connsiteX0" fmla="*/ 283992 w 587375"/>
                  <a:gd name="connsiteY0" fmla="*/ 1065213 h 1108075"/>
                  <a:gd name="connsiteX1" fmla="*/ 571671 w 587375"/>
                  <a:gd name="connsiteY1" fmla="*/ 1065213 h 1108075"/>
                  <a:gd name="connsiteX2" fmla="*/ 587375 w 587375"/>
                  <a:gd name="connsiteY2" fmla="*/ 1080295 h 1108075"/>
                  <a:gd name="connsiteX3" fmla="*/ 571671 w 587375"/>
                  <a:gd name="connsiteY3" fmla="*/ 1095376 h 1108075"/>
                  <a:gd name="connsiteX4" fmla="*/ 283992 w 587375"/>
                  <a:gd name="connsiteY4" fmla="*/ 1095376 h 1108075"/>
                  <a:gd name="connsiteX5" fmla="*/ 268287 w 587375"/>
                  <a:gd name="connsiteY5" fmla="*/ 1080295 h 1108075"/>
                  <a:gd name="connsiteX6" fmla="*/ 283992 w 587375"/>
                  <a:gd name="connsiteY6" fmla="*/ 1065213 h 1108075"/>
                  <a:gd name="connsiteX7" fmla="*/ 283992 w 587375"/>
                  <a:gd name="connsiteY7" fmla="*/ 963613 h 1108075"/>
                  <a:gd name="connsiteX8" fmla="*/ 571671 w 587375"/>
                  <a:gd name="connsiteY8" fmla="*/ 963613 h 1108075"/>
                  <a:gd name="connsiteX9" fmla="*/ 587375 w 587375"/>
                  <a:gd name="connsiteY9" fmla="*/ 979488 h 1108075"/>
                  <a:gd name="connsiteX10" fmla="*/ 571671 w 587375"/>
                  <a:gd name="connsiteY10" fmla="*/ 995363 h 1108075"/>
                  <a:gd name="connsiteX11" fmla="*/ 283992 w 587375"/>
                  <a:gd name="connsiteY11" fmla="*/ 995363 h 1108075"/>
                  <a:gd name="connsiteX12" fmla="*/ 268287 w 587375"/>
                  <a:gd name="connsiteY12" fmla="*/ 979488 h 1108075"/>
                  <a:gd name="connsiteX13" fmla="*/ 283992 w 587375"/>
                  <a:gd name="connsiteY13" fmla="*/ 963613 h 1108075"/>
                  <a:gd name="connsiteX14" fmla="*/ 15684 w 587375"/>
                  <a:gd name="connsiteY14" fmla="*/ 952500 h 1108075"/>
                  <a:gd name="connsiteX15" fmla="*/ 108362 w 587375"/>
                  <a:gd name="connsiteY15" fmla="*/ 952500 h 1108075"/>
                  <a:gd name="connsiteX16" fmla="*/ 76994 w 587375"/>
                  <a:gd name="connsiteY16" fmla="*/ 984191 h 1108075"/>
                  <a:gd name="connsiteX17" fmla="*/ 31368 w 587375"/>
                  <a:gd name="connsiteY17" fmla="*/ 984191 h 1108075"/>
                  <a:gd name="connsiteX18" fmla="*/ 31368 w 587375"/>
                  <a:gd name="connsiteY18" fmla="*/ 1076384 h 1108075"/>
                  <a:gd name="connsiteX19" fmla="*/ 122620 w 587375"/>
                  <a:gd name="connsiteY19" fmla="*/ 1076384 h 1108075"/>
                  <a:gd name="connsiteX20" fmla="*/ 122620 w 587375"/>
                  <a:gd name="connsiteY20" fmla="*/ 1072062 h 1108075"/>
                  <a:gd name="connsiteX21" fmla="*/ 153988 w 587375"/>
                  <a:gd name="connsiteY21" fmla="*/ 1040371 h 1108075"/>
                  <a:gd name="connsiteX22" fmla="*/ 153988 w 587375"/>
                  <a:gd name="connsiteY22" fmla="*/ 1092230 h 1108075"/>
                  <a:gd name="connsiteX23" fmla="*/ 138304 w 587375"/>
                  <a:gd name="connsiteY23" fmla="*/ 1108075 h 1108075"/>
                  <a:gd name="connsiteX24" fmla="*/ 15684 w 587375"/>
                  <a:gd name="connsiteY24" fmla="*/ 1108075 h 1108075"/>
                  <a:gd name="connsiteX25" fmla="*/ 0 w 587375"/>
                  <a:gd name="connsiteY25" fmla="*/ 1092230 h 1108075"/>
                  <a:gd name="connsiteX26" fmla="*/ 0 w 587375"/>
                  <a:gd name="connsiteY26" fmla="*/ 968346 h 1108075"/>
                  <a:gd name="connsiteX27" fmla="*/ 15684 w 587375"/>
                  <a:gd name="connsiteY27" fmla="*/ 952500 h 1108075"/>
                  <a:gd name="connsiteX28" fmla="*/ 283992 w 587375"/>
                  <a:gd name="connsiteY28" fmla="*/ 782638 h 1108075"/>
                  <a:gd name="connsiteX29" fmla="*/ 571671 w 587375"/>
                  <a:gd name="connsiteY29" fmla="*/ 782638 h 1108075"/>
                  <a:gd name="connsiteX30" fmla="*/ 587375 w 587375"/>
                  <a:gd name="connsiteY30" fmla="*/ 797720 h 1108075"/>
                  <a:gd name="connsiteX31" fmla="*/ 571671 w 587375"/>
                  <a:gd name="connsiteY31" fmla="*/ 812801 h 1108075"/>
                  <a:gd name="connsiteX32" fmla="*/ 283992 w 587375"/>
                  <a:gd name="connsiteY32" fmla="*/ 812801 h 1108075"/>
                  <a:gd name="connsiteX33" fmla="*/ 268287 w 587375"/>
                  <a:gd name="connsiteY33" fmla="*/ 797720 h 1108075"/>
                  <a:gd name="connsiteX34" fmla="*/ 283992 w 587375"/>
                  <a:gd name="connsiteY34" fmla="*/ 782638 h 1108075"/>
                  <a:gd name="connsiteX35" fmla="*/ 283992 w 587375"/>
                  <a:gd name="connsiteY35" fmla="*/ 681038 h 1108075"/>
                  <a:gd name="connsiteX36" fmla="*/ 571671 w 587375"/>
                  <a:gd name="connsiteY36" fmla="*/ 681038 h 1108075"/>
                  <a:gd name="connsiteX37" fmla="*/ 587375 w 587375"/>
                  <a:gd name="connsiteY37" fmla="*/ 696913 h 1108075"/>
                  <a:gd name="connsiteX38" fmla="*/ 571671 w 587375"/>
                  <a:gd name="connsiteY38" fmla="*/ 712788 h 1108075"/>
                  <a:gd name="connsiteX39" fmla="*/ 283992 w 587375"/>
                  <a:gd name="connsiteY39" fmla="*/ 712788 h 1108075"/>
                  <a:gd name="connsiteX40" fmla="*/ 268287 w 587375"/>
                  <a:gd name="connsiteY40" fmla="*/ 696913 h 1108075"/>
                  <a:gd name="connsiteX41" fmla="*/ 283992 w 587375"/>
                  <a:gd name="connsiteY41" fmla="*/ 681038 h 1108075"/>
                  <a:gd name="connsiteX42" fmla="*/ 15684 w 587375"/>
                  <a:gd name="connsiteY42" fmla="*/ 673100 h 1108075"/>
                  <a:gd name="connsiteX43" fmla="*/ 108362 w 587375"/>
                  <a:gd name="connsiteY43" fmla="*/ 673100 h 1108075"/>
                  <a:gd name="connsiteX44" fmla="*/ 76994 w 587375"/>
                  <a:gd name="connsiteY44" fmla="*/ 704468 h 1108075"/>
                  <a:gd name="connsiteX45" fmla="*/ 31368 w 587375"/>
                  <a:gd name="connsiteY45" fmla="*/ 704468 h 1108075"/>
                  <a:gd name="connsiteX46" fmla="*/ 31368 w 587375"/>
                  <a:gd name="connsiteY46" fmla="*/ 795720 h 1108075"/>
                  <a:gd name="connsiteX47" fmla="*/ 122620 w 587375"/>
                  <a:gd name="connsiteY47" fmla="*/ 795720 h 1108075"/>
                  <a:gd name="connsiteX48" fmla="*/ 122620 w 587375"/>
                  <a:gd name="connsiteY48" fmla="*/ 791443 h 1108075"/>
                  <a:gd name="connsiteX49" fmla="*/ 153988 w 587375"/>
                  <a:gd name="connsiteY49" fmla="*/ 760075 h 1108075"/>
                  <a:gd name="connsiteX50" fmla="*/ 153988 w 587375"/>
                  <a:gd name="connsiteY50" fmla="*/ 811404 h 1108075"/>
                  <a:gd name="connsiteX51" fmla="*/ 138304 w 587375"/>
                  <a:gd name="connsiteY51" fmla="*/ 827088 h 1108075"/>
                  <a:gd name="connsiteX52" fmla="*/ 15684 w 587375"/>
                  <a:gd name="connsiteY52" fmla="*/ 827088 h 1108075"/>
                  <a:gd name="connsiteX53" fmla="*/ 0 w 587375"/>
                  <a:gd name="connsiteY53" fmla="*/ 811404 h 1108075"/>
                  <a:gd name="connsiteX54" fmla="*/ 0 w 587375"/>
                  <a:gd name="connsiteY54" fmla="*/ 688784 h 1108075"/>
                  <a:gd name="connsiteX55" fmla="*/ 15684 w 587375"/>
                  <a:gd name="connsiteY55" fmla="*/ 673100 h 1108075"/>
                  <a:gd name="connsiteX56" fmla="*/ 283992 w 587375"/>
                  <a:gd name="connsiteY56" fmla="*/ 498475 h 1108075"/>
                  <a:gd name="connsiteX57" fmla="*/ 571671 w 587375"/>
                  <a:gd name="connsiteY57" fmla="*/ 498475 h 1108075"/>
                  <a:gd name="connsiteX58" fmla="*/ 587375 w 587375"/>
                  <a:gd name="connsiteY58" fmla="*/ 514350 h 1108075"/>
                  <a:gd name="connsiteX59" fmla="*/ 571671 w 587375"/>
                  <a:gd name="connsiteY59" fmla="*/ 530225 h 1108075"/>
                  <a:gd name="connsiteX60" fmla="*/ 283992 w 587375"/>
                  <a:gd name="connsiteY60" fmla="*/ 530225 h 1108075"/>
                  <a:gd name="connsiteX61" fmla="*/ 268287 w 587375"/>
                  <a:gd name="connsiteY61" fmla="*/ 514350 h 1108075"/>
                  <a:gd name="connsiteX62" fmla="*/ 283992 w 587375"/>
                  <a:gd name="connsiteY62" fmla="*/ 498475 h 1108075"/>
                  <a:gd name="connsiteX63" fmla="*/ 283992 w 587375"/>
                  <a:gd name="connsiteY63" fmla="*/ 396875 h 1108075"/>
                  <a:gd name="connsiteX64" fmla="*/ 571671 w 587375"/>
                  <a:gd name="connsiteY64" fmla="*/ 396875 h 1108075"/>
                  <a:gd name="connsiteX65" fmla="*/ 587375 w 587375"/>
                  <a:gd name="connsiteY65" fmla="*/ 412750 h 1108075"/>
                  <a:gd name="connsiteX66" fmla="*/ 571671 w 587375"/>
                  <a:gd name="connsiteY66" fmla="*/ 428625 h 1108075"/>
                  <a:gd name="connsiteX67" fmla="*/ 283992 w 587375"/>
                  <a:gd name="connsiteY67" fmla="*/ 428625 h 1108075"/>
                  <a:gd name="connsiteX68" fmla="*/ 268287 w 587375"/>
                  <a:gd name="connsiteY68" fmla="*/ 412750 h 1108075"/>
                  <a:gd name="connsiteX69" fmla="*/ 283992 w 587375"/>
                  <a:gd name="connsiteY69" fmla="*/ 396875 h 1108075"/>
                  <a:gd name="connsiteX70" fmla="*/ 15684 w 587375"/>
                  <a:gd name="connsiteY70" fmla="*/ 387350 h 1108075"/>
                  <a:gd name="connsiteX71" fmla="*/ 108362 w 587375"/>
                  <a:gd name="connsiteY71" fmla="*/ 387350 h 1108075"/>
                  <a:gd name="connsiteX72" fmla="*/ 76994 w 587375"/>
                  <a:gd name="connsiteY72" fmla="*/ 418718 h 1108075"/>
                  <a:gd name="connsiteX73" fmla="*/ 31368 w 587375"/>
                  <a:gd name="connsiteY73" fmla="*/ 418718 h 1108075"/>
                  <a:gd name="connsiteX74" fmla="*/ 31368 w 587375"/>
                  <a:gd name="connsiteY74" fmla="*/ 509970 h 1108075"/>
                  <a:gd name="connsiteX75" fmla="*/ 122620 w 587375"/>
                  <a:gd name="connsiteY75" fmla="*/ 509970 h 1108075"/>
                  <a:gd name="connsiteX76" fmla="*/ 122620 w 587375"/>
                  <a:gd name="connsiteY76" fmla="*/ 505693 h 1108075"/>
                  <a:gd name="connsiteX77" fmla="*/ 153988 w 587375"/>
                  <a:gd name="connsiteY77" fmla="*/ 474325 h 1108075"/>
                  <a:gd name="connsiteX78" fmla="*/ 153988 w 587375"/>
                  <a:gd name="connsiteY78" fmla="*/ 525654 h 1108075"/>
                  <a:gd name="connsiteX79" fmla="*/ 138304 w 587375"/>
                  <a:gd name="connsiteY79" fmla="*/ 541338 h 1108075"/>
                  <a:gd name="connsiteX80" fmla="*/ 15684 w 587375"/>
                  <a:gd name="connsiteY80" fmla="*/ 541338 h 1108075"/>
                  <a:gd name="connsiteX81" fmla="*/ 0 w 587375"/>
                  <a:gd name="connsiteY81" fmla="*/ 525654 h 1108075"/>
                  <a:gd name="connsiteX82" fmla="*/ 0 w 587375"/>
                  <a:gd name="connsiteY82" fmla="*/ 403034 h 1108075"/>
                  <a:gd name="connsiteX83" fmla="*/ 15684 w 587375"/>
                  <a:gd name="connsiteY83" fmla="*/ 387350 h 1108075"/>
                  <a:gd name="connsiteX84" fmla="*/ 293687 w 587375"/>
                  <a:gd name="connsiteY84" fmla="*/ 31750 h 1108075"/>
                  <a:gd name="connsiteX85" fmla="*/ 236537 w 587375"/>
                  <a:gd name="connsiteY85" fmla="*/ 66675 h 1108075"/>
                  <a:gd name="connsiteX86" fmla="*/ 350837 w 587375"/>
                  <a:gd name="connsiteY86" fmla="*/ 66675 h 1108075"/>
                  <a:gd name="connsiteX87" fmla="*/ 293687 w 587375"/>
                  <a:gd name="connsiteY87" fmla="*/ 31750 h 1108075"/>
                  <a:gd name="connsiteX88" fmla="*/ 293688 w 587375"/>
                  <a:gd name="connsiteY88" fmla="*/ 0 h 1108075"/>
                  <a:gd name="connsiteX89" fmla="*/ 383990 w 587375"/>
                  <a:gd name="connsiteY89" fmla="*/ 67287 h 1108075"/>
                  <a:gd name="connsiteX90" fmla="*/ 434158 w 587375"/>
                  <a:gd name="connsiteY90" fmla="*/ 67287 h 1108075"/>
                  <a:gd name="connsiteX91" fmla="*/ 441325 w 587375"/>
                  <a:gd name="connsiteY91" fmla="*/ 74445 h 1108075"/>
                  <a:gd name="connsiteX92" fmla="*/ 441325 w 587375"/>
                  <a:gd name="connsiteY92" fmla="*/ 181102 h 1108075"/>
                  <a:gd name="connsiteX93" fmla="*/ 425558 w 587375"/>
                  <a:gd name="connsiteY93" fmla="*/ 196850 h 1108075"/>
                  <a:gd name="connsiteX94" fmla="*/ 161817 w 587375"/>
                  <a:gd name="connsiteY94" fmla="*/ 196850 h 1108075"/>
                  <a:gd name="connsiteX95" fmla="*/ 146050 w 587375"/>
                  <a:gd name="connsiteY95" fmla="*/ 181102 h 1108075"/>
                  <a:gd name="connsiteX96" fmla="*/ 146050 w 587375"/>
                  <a:gd name="connsiteY96" fmla="*/ 74445 h 1108075"/>
                  <a:gd name="connsiteX97" fmla="*/ 153217 w 587375"/>
                  <a:gd name="connsiteY97" fmla="*/ 67287 h 1108075"/>
                  <a:gd name="connsiteX98" fmla="*/ 203385 w 587375"/>
                  <a:gd name="connsiteY98" fmla="*/ 67287 h 1108075"/>
                  <a:gd name="connsiteX99" fmla="*/ 293688 w 587375"/>
                  <a:gd name="connsiteY99" fmla="*/ 0 h 1108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</a:cxnLst>
                <a:rect l="l" t="t" r="r" b="b"/>
                <a:pathLst>
                  <a:path w="587375" h="1108075">
                    <a:moveTo>
                      <a:pt x="283992" y="1065213"/>
                    </a:moveTo>
                    <a:cubicBezTo>
                      <a:pt x="571671" y="1065213"/>
                      <a:pt x="571671" y="1065213"/>
                      <a:pt x="571671" y="1065213"/>
                    </a:cubicBezTo>
                    <a:cubicBezTo>
                      <a:pt x="580237" y="1065213"/>
                      <a:pt x="587375" y="1072068"/>
                      <a:pt x="587375" y="1080295"/>
                    </a:cubicBezTo>
                    <a:cubicBezTo>
                      <a:pt x="587375" y="1088521"/>
                      <a:pt x="580237" y="1095376"/>
                      <a:pt x="571671" y="1095376"/>
                    </a:cubicBezTo>
                    <a:cubicBezTo>
                      <a:pt x="283992" y="1095376"/>
                      <a:pt x="283992" y="1095376"/>
                      <a:pt x="283992" y="1095376"/>
                    </a:cubicBezTo>
                    <a:cubicBezTo>
                      <a:pt x="275426" y="1095376"/>
                      <a:pt x="268287" y="1088521"/>
                      <a:pt x="268287" y="1080295"/>
                    </a:cubicBezTo>
                    <a:cubicBezTo>
                      <a:pt x="268287" y="1072068"/>
                      <a:pt x="275426" y="1065213"/>
                      <a:pt x="283992" y="1065213"/>
                    </a:cubicBezTo>
                    <a:close/>
                    <a:moveTo>
                      <a:pt x="283992" y="963613"/>
                    </a:moveTo>
                    <a:cubicBezTo>
                      <a:pt x="571671" y="963613"/>
                      <a:pt x="571671" y="963613"/>
                      <a:pt x="571671" y="963613"/>
                    </a:cubicBezTo>
                    <a:cubicBezTo>
                      <a:pt x="580237" y="963613"/>
                      <a:pt x="587375" y="970107"/>
                      <a:pt x="587375" y="979488"/>
                    </a:cubicBezTo>
                    <a:cubicBezTo>
                      <a:pt x="587375" y="988147"/>
                      <a:pt x="580237" y="995363"/>
                      <a:pt x="571671" y="995363"/>
                    </a:cubicBezTo>
                    <a:cubicBezTo>
                      <a:pt x="283992" y="995363"/>
                      <a:pt x="283992" y="995363"/>
                      <a:pt x="283992" y="995363"/>
                    </a:cubicBezTo>
                    <a:cubicBezTo>
                      <a:pt x="275426" y="995363"/>
                      <a:pt x="268287" y="988147"/>
                      <a:pt x="268287" y="979488"/>
                    </a:cubicBezTo>
                    <a:cubicBezTo>
                      <a:pt x="268287" y="970107"/>
                      <a:pt x="275426" y="963613"/>
                      <a:pt x="283992" y="963613"/>
                    </a:cubicBezTo>
                    <a:close/>
                    <a:moveTo>
                      <a:pt x="15684" y="952500"/>
                    </a:moveTo>
                    <a:cubicBezTo>
                      <a:pt x="15684" y="952500"/>
                      <a:pt x="15684" y="952500"/>
                      <a:pt x="108362" y="952500"/>
                    </a:cubicBezTo>
                    <a:cubicBezTo>
                      <a:pt x="108362" y="952500"/>
                      <a:pt x="108362" y="952500"/>
                      <a:pt x="76994" y="984191"/>
                    </a:cubicBezTo>
                    <a:cubicBezTo>
                      <a:pt x="76994" y="984191"/>
                      <a:pt x="76994" y="984191"/>
                      <a:pt x="31368" y="984191"/>
                    </a:cubicBezTo>
                    <a:cubicBezTo>
                      <a:pt x="31368" y="984191"/>
                      <a:pt x="31368" y="984191"/>
                      <a:pt x="31368" y="1076384"/>
                    </a:cubicBezTo>
                    <a:cubicBezTo>
                      <a:pt x="31368" y="1076384"/>
                      <a:pt x="31368" y="1076384"/>
                      <a:pt x="122620" y="1076384"/>
                    </a:cubicBezTo>
                    <a:cubicBezTo>
                      <a:pt x="122620" y="1076384"/>
                      <a:pt x="122620" y="1076384"/>
                      <a:pt x="122620" y="1072062"/>
                    </a:cubicBezTo>
                    <a:lnTo>
                      <a:pt x="153988" y="1040371"/>
                    </a:lnTo>
                    <a:cubicBezTo>
                      <a:pt x="153988" y="1040371"/>
                      <a:pt x="153988" y="1040371"/>
                      <a:pt x="153988" y="1092230"/>
                    </a:cubicBezTo>
                    <a:cubicBezTo>
                      <a:pt x="153988" y="1100873"/>
                      <a:pt x="146859" y="1108075"/>
                      <a:pt x="138304" y="1108075"/>
                    </a:cubicBezTo>
                    <a:cubicBezTo>
                      <a:pt x="138304" y="1108075"/>
                      <a:pt x="138304" y="1108075"/>
                      <a:pt x="15684" y="1108075"/>
                    </a:cubicBezTo>
                    <a:cubicBezTo>
                      <a:pt x="7129" y="1108075"/>
                      <a:pt x="0" y="1100873"/>
                      <a:pt x="0" y="1092230"/>
                    </a:cubicBezTo>
                    <a:cubicBezTo>
                      <a:pt x="0" y="1092230"/>
                      <a:pt x="0" y="1092230"/>
                      <a:pt x="0" y="968346"/>
                    </a:cubicBezTo>
                    <a:cubicBezTo>
                      <a:pt x="0" y="959703"/>
                      <a:pt x="7129" y="952500"/>
                      <a:pt x="15684" y="952500"/>
                    </a:cubicBezTo>
                    <a:close/>
                    <a:moveTo>
                      <a:pt x="283992" y="782638"/>
                    </a:moveTo>
                    <a:cubicBezTo>
                      <a:pt x="571671" y="782638"/>
                      <a:pt x="571671" y="782638"/>
                      <a:pt x="571671" y="782638"/>
                    </a:cubicBezTo>
                    <a:cubicBezTo>
                      <a:pt x="580237" y="782638"/>
                      <a:pt x="587375" y="788808"/>
                      <a:pt x="587375" y="797720"/>
                    </a:cubicBezTo>
                    <a:cubicBezTo>
                      <a:pt x="587375" y="805946"/>
                      <a:pt x="580237" y="812801"/>
                      <a:pt x="571671" y="812801"/>
                    </a:cubicBezTo>
                    <a:cubicBezTo>
                      <a:pt x="283992" y="812801"/>
                      <a:pt x="283992" y="812801"/>
                      <a:pt x="283992" y="812801"/>
                    </a:cubicBezTo>
                    <a:cubicBezTo>
                      <a:pt x="275426" y="812801"/>
                      <a:pt x="268287" y="805946"/>
                      <a:pt x="268287" y="797720"/>
                    </a:cubicBezTo>
                    <a:cubicBezTo>
                      <a:pt x="268287" y="788808"/>
                      <a:pt x="275426" y="782638"/>
                      <a:pt x="283992" y="782638"/>
                    </a:cubicBezTo>
                    <a:close/>
                    <a:moveTo>
                      <a:pt x="283992" y="681038"/>
                    </a:moveTo>
                    <a:cubicBezTo>
                      <a:pt x="571671" y="681038"/>
                      <a:pt x="571671" y="681038"/>
                      <a:pt x="571671" y="681038"/>
                    </a:cubicBezTo>
                    <a:cubicBezTo>
                      <a:pt x="580237" y="681038"/>
                      <a:pt x="587375" y="688254"/>
                      <a:pt x="587375" y="696913"/>
                    </a:cubicBezTo>
                    <a:cubicBezTo>
                      <a:pt x="587375" y="705572"/>
                      <a:pt x="580237" y="712788"/>
                      <a:pt x="571671" y="712788"/>
                    </a:cubicBezTo>
                    <a:cubicBezTo>
                      <a:pt x="283992" y="712788"/>
                      <a:pt x="283992" y="712788"/>
                      <a:pt x="283992" y="712788"/>
                    </a:cubicBezTo>
                    <a:cubicBezTo>
                      <a:pt x="275426" y="712788"/>
                      <a:pt x="268287" y="705572"/>
                      <a:pt x="268287" y="696913"/>
                    </a:cubicBezTo>
                    <a:cubicBezTo>
                      <a:pt x="268287" y="688254"/>
                      <a:pt x="275426" y="681038"/>
                      <a:pt x="283992" y="681038"/>
                    </a:cubicBezTo>
                    <a:close/>
                    <a:moveTo>
                      <a:pt x="15684" y="673100"/>
                    </a:moveTo>
                    <a:cubicBezTo>
                      <a:pt x="15684" y="673100"/>
                      <a:pt x="15684" y="673100"/>
                      <a:pt x="108362" y="673100"/>
                    </a:cubicBezTo>
                    <a:cubicBezTo>
                      <a:pt x="108362" y="673100"/>
                      <a:pt x="108362" y="673100"/>
                      <a:pt x="76994" y="704468"/>
                    </a:cubicBezTo>
                    <a:cubicBezTo>
                      <a:pt x="76994" y="704468"/>
                      <a:pt x="76994" y="704468"/>
                      <a:pt x="31368" y="704468"/>
                    </a:cubicBezTo>
                    <a:cubicBezTo>
                      <a:pt x="31368" y="704468"/>
                      <a:pt x="31368" y="704468"/>
                      <a:pt x="31368" y="795720"/>
                    </a:cubicBezTo>
                    <a:cubicBezTo>
                      <a:pt x="31368" y="795720"/>
                      <a:pt x="31368" y="795720"/>
                      <a:pt x="122620" y="795720"/>
                    </a:cubicBezTo>
                    <a:cubicBezTo>
                      <a:pt x="122620" y="795720"/>
                      <a:pt x="122620" y="795720"/>
                      <a:pt x="122620" y="791443"/>
                    </a:cubicBezTo>
                    <a:lnTo>
                      <a:pt x="153988" y="760075"/>
                    </a:lnTo>
                    <a:cubicBezTo>
                      <a:pt x="153988" y="760075"/>
                      <a:pt x="153988" y="760075"/>
                      <a:pt x="153988" y="811404"/>
                    </a:cubicBezTo>
                    <a:cubicBezTo>
                      <a:pt x="153988" y="819959"/>
                      <a:pt x="146859" y="827088"/>
                      <a:pt x="138304" y="827088"/>
                    </a:cubicBezTo>
                    <a:cubicBezTo>
                      <a:pt x="138304" y="827088"/>
                      <a:pt x="138304" y="827088"/>
                      <a:pt x="15684" y="827088"/>
                    </a:cubicBezTo>
                    <a:cubicBezTo>
                      <a:pt x="7129" y="827088"/>
                      <a:pt x="0" y="819959"/>
                      <a:pt x="0" y="811404"/>
                    </a:cubicBezTo>
                    <a:cubicBezTo>
                      <a:pt x="0" y="811404"/>
                      <a:pt x="0" y="811404"/>
                      <a:pt x="0" y="688784"/>
                    </a:cubicBezTo>
                    <a:cubicBezTo>
                      <a:pt x="0" y="680229"/>
                      <a:pt x="7129" y="673100"/>
                      <a:pt x="15684" y="673100"/>
                    </a:cubicBezTo>
                    <a:close/>
                    <a:moveTo>
                      <a:pt x="283992" y="498475"/>
                    </a:moveTo>
                    <a:cubicBezTo>
                      <a:pt x="571671" y="498475"/>
                      <a:pt x="571671" y="498475"/>
                      <a:pt x="571671" y="498475"/>
                    </a:cubicBezTo>
                    <a:cubicBezTo>
                      <a:pt x="580237" y="498475"/>
                      <a:pt x="587375" y="505691"/>
                      <a:pt x="587375" y="514350"/>
                    </a:cubicBezTo>
                    <a:cubicBezTo>
                      <a:pt x="587375" y="523009"/>
                      <a:pt x="580237" y="530225"/>
                      <a:pt x="571671" y="530225"/>
                    </a:cubicBezTo>
                    <a:cubicBezTo>
                      <a:pt x="283992" y="530225"/>
                      <a:pt x="283992" y="530225"/>
                      <a:pt x="283992" y="530225"/>
                    </a:cubicBezTo>
                    <a:cubicBezTo>
                      <a:pt x="275426" y="530225"/>
                      <a:pt x="268287" y="523009"/>
                      <a:pt x="268287" y="514350"/>
                    </a:cubicBezTo>
                    <a:cubicBezTo>
                      <a:pt x="268287" y="505691"/>
                      <a:pt x="275426" y="498475"/>
                      <a:pt x="283992" y="498475"/>
                    </a:cubicBezTo>
                    <a:close/>
                    <a:moveTo>
                      <a:pt x="283992" y="396875"/>
                    </a:moveTo>
                    <a:cubicBezTo>
                      <a:pt x="571671" y="396875"/>
                      <a:pt x="571671" y="396875"/>
                      <a:pt x="571671" y="396875"/>
                    </a:cubicBezTo>
                    <a:cubicBezTo>
                      <a:pt x="580237" y="396875"/>
                      <a:pt x="587375" y="404091"/>
                      <a:pt x="587375" y="412750"/>
                    </a:cubicBezTo>
                    <a:cubicBezTo>
                      <a:pt x="587375" y="422131"/>
                      <a:pt x="580237" y="428625"/>
                      <a:pt x="571671" y="428625"/>
                    </a:cubicBezTo>
                    <a:cubicBezTo>
                      <a:pt x="283992" y="428625"/>
                      <a:pt x="283992" y="428625"/>
                      <a:pt x="283992" y="428625"/>
                    </a:cubicBezTo>
                    <a:cubicBezTo>
                      <a:pt x="275426" y="428625"/>
                      <a:pt x="268287" y="422131"/>
                      <a:pt x="268287" y="412750"/>
                    </a:cubicBezTo>
                    <a:cubicBezTo>
                      <a:pt x="268287" y="404091"/>
                      <a:pt x="275426" y="396875"/>
                      <a:pt x="283992" y="396875"/>
                    </a:cubicBezTo>
                    <a:close/>
                    <a:moveTo>
                      <a:pt x="15684" y="387350"/>
                    </a:moveTo>
                    <a:cubicBezTo>
                      <a:pt x="15684" y="387350"/>
                      <a:pt x="15684" y="387350"/>
                      <a:pt x="108362" y="387350"/>
                    </a:cubicBezTo>
                    <a:cubicBezTo>
                      <a:pt x="108362" y="387350"/>
                      <a:pt x="108362" y="387350"/>
                      <a:pt x="76994" y="418718"/>
                    </a:cubicBezTo>
                    <a:cubicBezTo>
                      <a:pt x="76994" y="418718"/>
                      <a:pt x="76994" y="418718"/>
                      <a:pt x="31368" y="418718"/>
                    </a:cubicBezTo>
                    <a:cubicBezTo>
                      <a:pt x="31368" y="418718"/>
                      <a:pt x="31368" y="418718"/>
                      <a:pt x="31368" y="509970"/>
                    </a:cubicBezTo>
                    <a:cubicBezTo>
                      <a:pt x="31368" y="509970"/>
                      <a:pt x="31368" y="509970"/>
                      <a:pt x="122620" y="509970"/>
                    </a:cubicBezTo>
                    <a:cubicBezTo>
                      <a:pt x="122620" y="509970"/>
                      <a:pt x="122620" y="509970"/>
                      <a:pt x="122620" y="505693"/>
                    </a:cubicBezTo>
                    <a:lnTo>
                      <a:pt x="153988" y="474325"/>
                    </a:lnTo>
                    <a:cubicBezTo>
                      <a:pt x="153988" y="474325"/>
                      <a:pt x="153988" y="474325"/>
                      <a:pt x="153988" y="525654"/>
                    </a:cubicBezTo>
                    <a:cubicBezTo>
                      <a:pt x="153988" y="534209"/>
                      <a:pt x="146859" y="541338"/>
                      <a:pt x="138304" y="541338"/>
                    </a:cubicBezTo>
                    <a:cubicBezTo>
                      <a:pt x="138304" y="541338"/>
                      <a:pt x="138304" y="541338"/>
                      <a:pt x="15684" y="541338"/>
                    </a:cubicBezTo>
                    <a:cubicBezTo>
                      <a:pt x="7129" y="541338"/>
                      <a:pt x="0" y="534209"/>
                      <a:pt x="0" y="525654"/>
                    </a:cubicBezTo>
                    <a:cubicBezTo>
                      <a:pt x="0" y="525654"/>
                      <a:pt x="0" y="525654"/>
                      <a:pt x="0" y="403034"/>
                    </a:cubicBezTo>
                    <a:cubicBezTo>
                      <a:pt x="0" y="394479"/>
                      <a:pt x="7129" y="387350"/>
                      <a:pt x="15684" y="387350"/>
                    </a:cubicBezTo>
                    <a:close/>
                    <a:moveTo>
                      <a:pt x="293687" y="31750"/>
                    </a:moveTo>
                    <a:cubicBezTo>
                      <a:pt x="268368" y="31750"/>
                      <a:pt x="246665" y="45720"/>
                      <a:pt x="236537" y="66675"/>
                    </a:cubicBezTo>
                    <a:cubicBezTo>
                      <a:pt x="236537" y="66675"/>
                      <a:pt x="236537" y="66675"/>
                      <a:pt x="350837" y="66675"/>
                    </a:cubicBezTo>
                    <a:cubicBezTo>
                      <a:pt x="340709" y="45720"/>
                      <a:pt x="319007" y="31750"/>
                      <a:pt x="293687" y="31750"/>
                    </a:cubicBezTo>
                    <a:close/>
                    <a:moveTo>
                      <a:pt x="293688" y="0"/>
                    </a:moveTo>
                    <a:cubicBezTo>
                      <a:pt x="335972" y="0"/>
                      <a:pt x="372523" y="27917"/>
                      <a:pt x="383990" y="67287"/>
                    </a:cubicBezTo>
                    <a:cubicBezTo>
                      <a:pt x="383990" y="67287"/>
                      <a:pt x="383990" y="67287"/>
                      <a:pt x="434158" y="67287"/>
                    </a:cubicBezTo>
                    <a:cubicBezTo>
                      <a:pt x="438458" y="67287"/>
                      <a:pt x="441325" y="70150"/>
                      <a:pt x="441325" y="74445"/>
                    </a:cubicBezTo>
                    <a:cubicBezTo>
                      <a:pt x="441325" y="74445"/>
                      <a:pt x="441325" y="74445"/>
                      <a:pt x="441325" y="181102"/>
                    </a:cubicBezTo>
                    <a:cubicBezTo>
                      <a:pt x="441325" y="189692"/>
                      <a:pt x="434158" y="196850"/>
                      <a:pt x="425558" y="196850"/>
                    </a:cubicBezTo>
                    <a:cubicBezTo>
                      <a:pt x="425558" y="196850"/>
                      <a:pt x="425558" y="196850"/>
                      <a:pt x="161817" y="196850"/>
                    </a:cubicBezTo>
                    <a:cubicBezTo>
                      <a:pt x="153217" y="196850"/>
                      <a:pt x="146050" y="189692"/>
                      <a:pt x="146050" y="181102"/>
                    </a:cubicBezTo>
                    <a:cubicBezTo>
                      <a:pt x="146050" y="181102"/>
                      <a:pt x="146050" y="181102"/>
                      <a:pt x="146050" y="74445"/>
                    </a:cubicBezTo>
                    <a:cubicBezTo>
                      <a:pt x="146050" y="70150"/>
                      <a:pt x="148917" y="67287"/>
                      <a:pt x="153217" y="67287"/>
                    </a:cubicBezTo>
                    <a:cubicBezTo>
                      <a:pt x="153217" y="67287"/>
                      <a:pt x="153217" y="67287"/>
                      <a:pt x="203385" y="67287"/>
                    </a:cubicBezTo>
                    <a:cubicBezTo>
                      <a:pt x="214852" y="27917"/>
                      <a:pt x="251403" y="0"/>
                      <a:pt x="293688" y="0"/>
                    </a:cubicBezTo>
                    <a:close/>
                  </a:path>
                </a:pathLst>
              </a:custGeom>
              <a:solidFill>
                <a:srgbClr val="5D78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4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24" name="Группа 123"/>
            <p:cNvGrpSpPr/>
            <p:nvPr/>
          </p:nvGrpSpPr>
          <p:grpSpPr>
            <a:xfrm>
              <a:off x="10556802" y="3587137"/>
              <a:ext cx="346946" cy="505255"/>
              <a:chOff x="905026" y="2261248"/>
              <a:chExt cx="346946" cy="505255"/>
            </a:xfrm>
          </p:grpSpPr>
          <p:sp>
            <p:nvSpPr>
              <p:cNvPr id="125" name="Freeform 201"/>
              <p:cNvSpPr>
                <a:spLocks/>
              </p:cNvSpPr>
              <p:nvPr/>
            </p:nvSpPr>
            <p:spPr bwMode="auto">
              <a:xfrm>
                <a:off x="905026" y="2305526"/>
                <a:ext cx="346946" cy="460977"/>
              </a:xfrm>
              <a:custGeom>
                <a:avLst/>
                <a:gdLst>
                  <a:gd name="connsiteX0" fmla="*/ 322278 w 908050"/>
                  <a:gd name="connsiteY0" fmla="*/ 827162 h 1206500"/>
                  <a:gd name="connsiteX1" fmla="*/ 344412 w 908050"/>
                  <a:gd name="connsiteY1" fmla="*/ 827162 h 1206500"/>
                  <a:gd name="connsiteX2" fmla="*/ 344412 w 908050"/>
                  <a:gd name="connsiteY2" fmla="*/ 849293 h 1206500"/>
                  <a:gd name="connsiteX3" fmla="*/ 257305 w 908050"/>
                  <a:gd name="connsiteY3" fmla="*/ 936390 h 1206500"/>
                  <a:gd name="connsiteX4" fmla="*/ 246595 w 908050"/>
                  <a:gd name="connsiteY4" fmla="*/ 941387 h 1206500"/>
                  <a:gd name="connsiteX5" fmla="*/ 235171 w 908050"/>
                  <a:gd name="connsiteY5" fmla="*/ 936390 h 1206500"/>
                  <a:gd name="connsiteX6" fmla="*/ 207325 w 908050"/>
                  <a:gd name="connsiteY6" fmla="*/ 909261 h 1206500"/>
                  <a:gd name="connsiteX7" fmla="*/ 207325 w 908050"/>
                  <a:gd name="connsiteY7" fmla="*/ 887130 h 1206500"/>
                  <a:gd name="connsiteX8" fmla="*/ 229459 w 908050"/>
                  <a:gd name="connsiteY8" fmla="*/ 887130 h 1206500"/>
                  <a:gd name="connsiteX9" fmla="*/ 246595 w 908050"/>
                  <a:gd name="connsiteY9" fmla="*/ 903550 h 1206500"/>
                  <a:gd name="connsiteX10" fmla="*/ 322278 w 908050"/>
                  <a:gd name="connsiteY10" fmla="*/ 827162 h 1206500"/>
                  <a:gd name="connsiteX11" fmla="*/ 322278 w 908050"/>
                  <a:gd name="connsiteY11" fmla="*/ 545495 h 1206500"/>
                  <a:gd name="connsiteX12" fmla="*/ 344412 w 908050"/>
                  <a:gd name="connsiteY12" fmla="*/ 545495 h 1206500"/>
                  <a:gd name="connsiteX13" fmla="*/ 344412 w 908050"/>
                  <a:gd name="connsiteY13" fmla="*/ 567758 h 1206500"/>
                  <a:gd name="connsiteX14" fmla="*/ 257305 w 908050"/>
                  <a:gd name="connsiteY14" fmla="*/ 656091 h 1206500"/>
                  <a:gd name="connsiteX15" fmla="*/ 246595 w 908050"/>
                  <a:gd name="connsiteY15" fmla="*/ 660400 h 1206500"/>
                  <a:gd name="connsiteX16" fmla="*/ 235171 w 908050"/>
                  <a:gd name="connsiteY16" fmla="*/ 656091 h 1206500"/>
                  <a:gd name="connsiteX17" fmla="*/ 207325 w 908050"/>
                  <a:gd name="connsiteY17" fmla="*/ 628083 h 1206500"/>
                  <a:gd name="connsiteX18" fmla="*/ 207325 w 908050"/>
                  <a:gd name="connsiteY18" fmla="*/ 605820 h 1206500"/>
                  <a:gd name="connsiteX19" fmla="*/ 229459 w 908050"/>
                  <a:gd name="connsiteY19" fmla="*/ 605820 h 1206500"/>
                  <a:gd name="connsiteX20" fmla="*/ 246595 w 908050"/>
                  <a:gd name="connsiteY20" fmla="*/ 622338 h 1206500"/>
                  <a:gd name="connsiteX21" fmla="*/ 322278 w 908050"/>
                  <a:gd name="connsiteY21" fmla="*/ 545495 h 1206500"/>
                  <a:gd name="connsiteX22" fmla="*/ 322278 w 908050"/>
                  <a:gd name="connsiteY22" fmla="*/ 261332 h 1206500"/>
                  <a:gd name="connsiteX23" fmla="*/ 344412 w 908050"/>
                  <a:gd name="connsiteY23" fmla="*/ 261332 h 1206500"/>
                  <a:gd name="connsiteX24" fmla="*/ 344412 w 908050"/>
                  <a:gd name="connsiteY24" fmla="*/ 283595 h 1206500"/>
                  <a:gd name="connsiteX25" fmla="*/ 257305 w 908050"/>
                  <a:gd name="connsiteY25" fmla="*/ 371928 h 1206500"/>
                  <a:gd name="connsiteX26" fmla="*/ 246595 w 908050"/>
                  <a:gd name="connsiteY26" fmla="*/ 376237 h 1206500"/>
                  <a:gd name="connsiteX27" fmla="*/ 235171 w 908050"/>
                  <a:gd name="connsiteY27" fmla="*/ 371928 h 1206500"/>
                  <a:gd name="connsiteX28" fmla="*/ 207325 w 908050"/>
                  <a:gd name="connsiteY28" fmla="*/ 343920 h 1206500"/>
                  <a:gd name="connsiteX29" fmla="*/ 207325 w 908050"/>
                  <a:gd name="connsiteY29" fmla="*/ 321657 h 1206500"/>
                  <a:gd name="connsiteX30" fmla="*/ 229459 w 908050"/>
                  <a:gd name="connsiteY30" fmla="*/ 321657 h 1206500"/>
                  <a:gd name="connsiteX31" fmla="*/ 246595 w 908050"/>
                  <a:gd name="connsiteY31" fmla="*/ 338175 h 1206500"/>
                  <a:gd name="connsiteX32" fmla="*/ 322278 w 908050"/>
                  <a:gd name="connsiteY32" fmla="*/ 261332 h 1206500"/>
                  <a:gd name="connsiteX33" fmla="*/ 15681 w 908050"/>
                  <a:gd name="connsiteY33" fmla="*/ 0 h 1206500"/>
                  <a:gd name="connsiteX34" fmla="*/ 275836 w 908050"/>
                  <a:gd name="connsiteY34" fmla="*/ 0 h 1206500"/>
                  <a:gd name="connsiteX35" fmla="*/ 275836 w 908050"/>
                  <a:gd name="connsiteY35" fmla="*/ 31412 h 1206500"/>
                  <a:gd name="connsiteX36" fmla="*/ 31361 w 908050"/>
                  <a:gd name="connsiteY36" fmla="*/ 31412 h 1206500"/>
                  <a:gd name="connsiteX37" fmla="*/ 31361 w 908050"/>
                  <a:gd name="connsiteY37" fmla="*/ 1175088 h 1206500"/>
                  <a:gd name="connsiteX38" fmla="*/ 876689 w 908050"/>
                  <a:gd name="connsiteY38" fmla="*/ 1175088 h 1206500"/>
                  <a:gd name="connsiteX39" fmla="*/ 876689 w 908050"/>
                  <a:gd name="connsiteY39" fmla="*/ 31412 h 1206500"/>
                  <a:gd name="connsiteX40" fmla="*/ 632214 w 908050"/>
                  <a:gd name="connsiteY40" fmla="*/ 31412 h 1206500"/>
                  <a:gd name="connsiteX41" fmla="*/ 632214 w 908050"/>
                  <a:gd name="connsiteY41" fmla="*/ 0 h 1206500"/>
                  <a:gd name="connsiteX42" fmla="*/ 892370 w 908050"/>
                  <a:gd name="connsiteY42" fmla="*/ 0 h 1206500"/>
                  <a:gd name="connsiteX43" fmla="*/ 908050 w 908050"/>
                  <a:gd name="connsiteY43" fmla="*/ 15706 h 1206500"/>
                  <a:gd name="connsiteX44" fmla="*/ 908050 w 908050"/>
                  <a:gd name="connsiteY44" fmla="*/ 1190794 h 1206500"/>
                  <a:gd name="connsiteX45" fmla="*/ 892370 w 908050"/>
                  <a:gd name="connsiteY45" fmla="*/ 1206500 h 1206500"/>
                  <a:gd name="connsiteX46" fmla="*/ 15681 w 908050"/>
                  <a:gd name="connsiteY46" fmla="*/ 1206500 h 1206500"/>
                  <a:gd name="connsiteX47" fmla="*/ 0 w 908050"/>
                  <a:gd name="connsiteY47" fmla="*/ 1190794 h 1206500"/>
                  <a:gd name="connsiteX48" fmla="*/ 0 w 908050"/>
                  <a:gd name="connsiteY48" fmla="*/ 15706 h 1206500"/>
                  <a:gd name="connsiteX49" fmla="*/ 15681 w 908050"/>
                  <a:gd name="connsiteY49" fmla="*/ 0 h 1206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908050" h="1206500">
                    <a:moveTo>
                      <a:pt x="322278" y="827162"/>
                    </a:moveTo>
                    <a:cubicBezTo>
                      <a:pt x="328704" y="820737"/>
                      <a:pt x="338700" y="820737"/>
                      <a:pt x="344412" y="827162"/>
                    </a:cubicBezTo>
                    <a:cubicBezTo>
                      <a:pt x="350838" y="833587"/>
                      <a:pt x="350838" y="843582"/>
                      <a:pt x="344412" y="849293"/>
                    </a:cubicBezTo>
                    <a:cubicBezTo>
                      <a:pt x="257305" y="936390"/>
                      <a:pt x="257305" y="936390"/>
                      <a:pt x="257305" y="936390"/>
                    </a:cubicBezTo>
                    <a:cubicBezTo>
                      <a:pt x="254449" y="939959"/>
                      <a:pt x="250165" y="941387"/>
                      <a:pt x="246595" y="941387"/>
                    </a:cubicBezTo>
                    <a:cubicBezTo>
                      <a:pt x="242311" y="941387"/>
                      <a:pt x="238027" y="939959"/>
                      <a:pt x="235171" y="936390"/>
                    </a:cubicBezTo>
                    <a:cubicBezTo>
                      <a:pt x="207325" y="909261"/>
                      <a:pt x="207325" y="909261"/>
                      <a:pt x="207325" y="909261"/>
                    </a:cubicBezTo>
                    <a:cubicBezTo>
                      <a:pt x="201613" y="902836"/>
                      <a:pt x="201613" y="892842"/>
                      <a:pt x="207325" y="887130"/>
                    </a:cubicBezTo>
                    <a:cubicBezTo>
                      <a:pt x="213751" y="880705"/>
                      <a:pt x="223747" y="880705"/>
                      <a:pt x="229459" y="887130"/>
                    </a:cubicBezTo>
                    <a:cubicBezTo>
                      <a:pt x="246595" y="903550"/>
                      <a:pt x="246595" y="903550"/>
                      <a:pt x="246595" y="903550"/>
                    </a:cubicBezTo>
                    <a:cubicBezTo>
                      <a:pt x="322278" y="827162"/>
                      <a:pt x="322278" y="827162"/>
                      <a:pt x="322278" y="827162"/>
                    </a:cubicBezTo>
                    <a:close/>
                    <a:moveTo>
                      <a:pt x="322278" y="545495"/>
                    </a:moveTo>
                    <a:cubicBezTo>
                      <a:pt x="328704" y="539750"/>
                      <a:pt x="338700" y="539750"/>
                      <a:pt x="344412" y="545495"/>
                    </a:cubicBezTo>
                    <a:cubicBezTo>
                      <a:pt x="350838" y="551959"/>
                      <a:pt x="350838" y="562013"/>
                      <a:pt x="344412" y="567758"/>
                    </a:cubicBezTo>
                    <a:cubicBezTo>
                      <a:pt x="257305" y="656091"/>
                      <a:pt x="257305" y="656091"/>
                      <a:pt x="257305" y="656091"/>
                    </a:cubicBezTo>
                    <a:cubicBezTo>
                      <a:pt x="254449" y="658964"/>
                      <a:pt x="250165" y="660400"/>
                      <a:pt x="246595" y="660400"/>
                    </a:cubicBezTo>
                    <a:cubicBezTo>
                      <a:pt x="242311" y="660400"/>
                      <a:pt x="238027" y="658964"/>
                      <a:pt x="235171" y="656091"/>
                    </a:cubicBezTo>
                    <a:cubicBezTo>
                      <a:pt x="207325" y="628083"/>
                      <a:pt x="207325" y="628083"/>
                      <a:pt x="207325" y="628083"/>
                    </a:cubicBezTo>
                    <a:cubicBezTo>
                      <a:pt x="201613" y="622338"/>
                      <a:pt x="201613" y="612284"/>
                      <a:pt x="207325" y="605820"/>
                    </a:cubicBezTo>
                    <a:cubicBezTo>
                      <a:pt x="213751" y="599357"/>
                      <a:pt x="223747" y="599357"/>
                      <a:pt x="229459" y="605820"/>
                    </a:cubicBezTo>
                    <a:cubicBezTo>
                      <a:pt x="246595" y="622338"/>
                      <a:pt x="246595" y="622338"/>
                      <a:pt x="246595" y="622338"/>
                    </a:cubicBezTo>
                    <a:cubicBezTo>
                      <a:pt x="322278" y="545495"/>
                      <a:pt x="322278" y="545495"/>
                      <a:pt x="322278" y="545495"/>
                    </a:cubicBezTo>
                    <a:close/>
                    <a:moveTo>
                      <a:pt x="322278" y="261332"/>
                    </a:moveTo>
                    <a:cubicBezTo>
                      <a:pt x="328704" y="255587"/>
                      <a:pt x="338700" y="255587"/>
                      <a:pt x="344412" y="261332"/>
                    </a:cubicBezTo>
                    <a:cubicBezTo>
                      <a:pt x="350838" y="267796"/>
                      <a:pt x="350838" y="277850"/>
                      <a:pt x="344412" y="283595"/>
                    </a:cubicBezTo>
                    <a:cubicBezTo>
                      <a:pt x="257305" y="371928"/>
                      <a:pt x="257305" y="371928"/>
                      <a:pt x="257305" y="371928"/>
                    </a:cubicBezTo>
                    <a:cubicBezTo>
                      <a:pt x="254449" y="374801"/>
                      <a:pt x="250165" y="376237"/>
                      <a:pt x="246595" y="376237"/>
                    </a:cubicBezTo>
                    <a:cubicBezTo>
                      <a:pt x="242311" y="376237"/>
                      <a:pt x="238027" y="374801"/>
                      <a:pt x="235171" y="371928"/>
                    </a:cubicBezTo>
                    <a:cubicBezTo>
                      <a:pt x="207325" y="343920"/>
                      <a:pt x="207325" y="343920"/>
                      <a:pt x="207325" y="343920"/>
                    </a:cubicBezTo>
                    <a:cubicBezTo>
                      <a:pt x="201613" y="337457"/>
                      <a:pt x="201613" y="327403"/>
                      <a:pt x="207325" y="321657"/>
                    </a:cubicBezTo>
                    <a:cubicBezTo>
                      <a:pt x="213751" y="315194"/>
                      <a:pt x="223747" y="315194"/>
                      <a:pt x="229459" y="321657"/>
                    </a:cubicBezTo>
                    <a:cubicBezTo>
                      <a:pt x="246595" y="338175"/>
                      <a:pt x="246595" y="338175"/>
                      <a:pt x="246595" y="338175"/>
                    </a:cubicBezTo>
                    <a:cubicBezTo>
                      <a:pt x="322278" y="261332"/>
                      <a:pt x="322278" y="261332"/>
                      <a:pt x="322278" y="261332"/>
                    </a:cubicBezTo>
                    <a:close/>
                    <a:moveTo>
                      <a:pt x="15681" y="0"/>
                    </a:moveTo>
                    <a:cubicBezTo>
                      <a:pt x="15681" y="0"/>
                      <a:pt x="15681" y="0"/>
                      <a:pt x="275836" y="0"/>
                    </a:cubicBezTo>
                    <a:cubicBezTo>
                      <a:pt x="275836" y="0"/>
                      <a:pt x="275836" y="0"/>
                      <a:pt x="275836" y="31412"/>
                    </a:cubicBezTo>
                    <a:cubicBezTo>
                      <a:pt x="275836" y="31412"/>
                      <a:pt x="275836" y="31412"/>
                      <a:pt x="31361" y="31412"/>
                    </a:cubicBezTo>
                    <a:cubicBezTo>
                      <a:pt x="31361" y="31412"/>
                      <a:pt x="31361" y="31412"/>
                      <a:pt x="31361" y="1175088"/>
                    </a:cubicBezTo>
                    <a:cubicBezTo>
                      <a:pt x="31361" y="1175088"/>
                      <a:pt x="31361" y="1175088"/>
                      <a:pt x="876689" y="1175088"/>
                    </a:cubicBezTo>
                    <a:cubicBezTo>
                      <a:pt x="876689" y="1175088"/>
                      <a:pt x="876689" y="1175088"/>
                      <a:pt x="876689" y="31412"/>
                    </a:cubicBezTo>
                    <a:cubicBezTo>
                      <a:pt x="876689" y="31412"/>
                      <a:pt x="876689" y="31412"/>
                      <a:pt x="632214" y="31412"/>
                    </a:cubicBezTo>
                    <a:cubicBezTo>
                      <a:pt x="632214" y="31412"/>
                      <a:pt x="632214" y="31412"/>
                      <a:pt x="632214" y="0"/>
                    </a:cubicBezTo>
                    <a:cubicBezTo>
                      <a:pt x="632214" y="0"/>
                      <a:pt x="632214" y="0"/>
                      <a:pt x="892370" y="0"/>
                    </a:cubicBezTo>
                    <a:cubicBezTo>
                      <a:pt x="900923" y="0"/>
                      <a:pt x="908050" y="7139"/>
                      <a:pt x="908050" y="15706"/>
                    </a:cubicBezTo>
                    <a:cubicBezTo>
                      <a:pt x="908050" y="15706"/>
                      <a:pt x="908050" y="15706"/>
                      <a:pt x="908050" y="1190794"/>
                    </a:cubicBezTo>
                    <a:cubicBezTo>
                      <a:pt x="908050" y="1199361"/>
                      <a:pt x="900923" y="1206500"/>
                      <a:pt x="892370" y="1206500"/>
                    </a:cubicBezTo>
                    <a:cubicBezTo>
                      <a:pt x="892370" y="1206500"/>
                      <a:pt x="892370" y="1206500"/>
                      <a:pt x="15681" y="1206500"/>
                    </a:cubicBezTo>
                    <a:cubicBezTo>
                      <a:pt x="7128" y="1206500"/>
                      <a:pt x="0" y="1199361"/>
                      <a:pt x="0" y="1190794"/>
                    </a:cubicBezTo>
                    <a:cubicBezTo>
                      <a:pt x="0" y="1190794"/>
                      <a:pt x="0" y="1190794"/>
                      <a:pt x="0" y="15706"/>
                    </a:cubicBezTo>
                    <a:cubicBezTo>
                      <a:pt x="0" y="7139"/>
                      <a:pt x="7128" y="0"/>
                      <a:pt x="15681" y="0"/>
                    </a:cubicBezTo>
                    <a:close/>
                  </a:path>
                </a:pathLst>
              </a:custGeom>
              <a:solidFill>
                <a:srgbClr val="283B8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4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6" name="Freeform 202"/>
              <p:cNvSpPr>
                <a:spLocks/>
              </p:cNvSpPr>
              <p:nvPr/>
            </p:nvSpPr>
            <p:spPr bwMode="auto">
              <a:xfrm>
                <a:off x="966288" y="2261248"/>
                <a:ext cx="224423" cy="423371"/>
              </a:xfrm>
              <a:custGeom>
                <a:avLst/>
                <a:gdLst>
                  <a:gd name="connsiteX0" fmla="*/ 283992 w 587375"/>
                  <a:gd name="connsiteY0" fmla="*/ 1065213 h 1108075"/>
                  <a:gd name="connsiteX1" fmla="*/ 571671 w 587375"/>
                  <a:gd name="connsiteY1" fmla="*/ 1065213 h 1108075"/>
                  <a:gd name="connsiteX2" fmla="*/ 587375 w 587375"/>
                  <a:gd name="connsiteY2" fmla="*/ 1080295 h 1108075"/>
                  <a:gd name="connsiteX3" fmla="*/ 571671 w 587375"/>
                  <a:gd name="connsiteY3" fmla="*/ 1095376 h 1108075"/>
                  <a:gd name="connsiteX4" fmla="*/ 283992 w 587375"/>
                  <a:gd name="connsiteY4" fmla="*/ 1095376 h 1108075"/>
                  <a:gd name="connsiteX5" fmla="*/ 268287 w 587375"/>
                  <a:gd name="connsiteY5" fmla="*/ 1080295 h 1108075"/>
                  <a:gd name="connsiteX6" fmla="*/ 283992 w 587375"/>
                  <a:gd name="connsiteY6" fmla="*/ 1065213 h 1108075"/>
                  <a:gd name="connsiteX7" fmla="*/ 283992 w 587375"/>
                  <a:gd name="connsiteY7" fmla="*/ 963613 h 1108075"/>
                  <a:gd name="connsiteX8" fmla="*/ 571671 w 587375"/>
                  <a:gd name="connsiteY8" fmla="*/ 963613 h 1108075"/>
                  <a:gd name="connsiteX9" fmla="*/ 587375 w 587375"/>
                  <a:gd name="connsiteY9" fmla="*/ 979488 h 1108075"/>
                  <a:gd name="connsiteX10" fmla="*/ 571671 w 587375"/>
                  <a:gd name="connsiteY10" fmla="*/ 995363 h 1108075"/>
                  <a:gd name="connsiteX11" fmla="*/ 283992 w 587375"/>
                  <a:gd name="connsiteY11" fmla="*/ 995363 h 1108075"/>
                  <a:gd name="connsiteX12" fmla="*/ 268287 w 587375"/>
                  <a:gd name="connsiteY12" fmla="*/ 979488 h 1108075"/>
                  <a:gd name="connsiteX13" fmla="*/ 283992 w 587375"/>
                  <a:gd name="connsiteY13" fmla="*/ 963613 h 1108075"/>
                  <a:gd name="connsiteX14" fmla="*/ 15684 w 587375"/>
                  <a:gd name="connsiteY14" fmla="*/ 952500 h 1108075"/>
                  <a:gd name="connsiteX15" fmla="*/ 108362 w 587375"/>
                  <a:gd name="connsiteY15" fmla="*/ 952500 h 1108075"/>
                  <a:gd name="connsiteX16" fmla="*/ 76994 w 587375"/>
                  <a:gd name="connsiteY16" fmla="*/ 984191 h 1108075"/>
                  <a:gd name="connsiteX17" fmla="*/ 31368 w 587375"/>
                  <a:gd name="connsiteY17" fmla="*/ 984191 h 1108075"/>
                  <a:gd name="connsiteX18" fmla="*/ 31368 w 587375"/>
                  <a:gd name="connsiteY18" fmla="*/ 1076384 h 1108075"/>
                  <a:gd name="connsiteX19" fmla="*/ 122620 w 587375"/>
                  <a:gd name="connsiteY19" fmla="*/ 1076384 h 1108075"/>
                  <a:gd name="connsiteX20" fmla="*/ 122620 w 587375"/>
                  <a:gd name="connsiteY20" fmla="*/ 1072062 h 1108075"/>
                  <a:gd name="connsiteX21" fmla="*/ 153988 w 587375"/>
                  <a:gd name="connsiteY21" fmla="*/ 1040371 h 1108075"/>
                  <a:gd name="connsiteX22" fmla="*/ 153988 w 587375"/>
                  <a:gd name="connsiteY22" fmla="*/ 1092230 h 1108075"/>
                  <a:gd name="connsiteX23" fmla="*/ 138304 w 587375"/>
                  <a:gd name="connsiteY23" fmla="*/ 1108075 h 1108075"/>
                  <a:gd name="connsiteX24" fmla="*/ 15684 w 587375"/>
                  <a:gd name="connsiteY24" fmla="*/ 1108075 h 1108075"/>
                  <a:gd name="connsiteX25" fmla="*/ 0 w 587375"/>
                  <a:gd name="connsiteY25" fmla="*/ 1092230 h 1108075"/>
                  <a:gd name="connsiteX26" fmla="*/ 0 w 587375"/>
                  <a:gd name="connsiteY26" fmla="*/ 968346 h 1108075"/>
                  <a:gd name="connsiteX27" fmla="*/ 15684 w 587375"/>
                  <a:gd name="connsiteY27" fmla="*/ 952500 h 1108075"/>
                  <a:gd name="connsiteX28" fmla="*/ 283992 w 587375"/>
                  <a:gd name="connsiteY28" fmla="*/ 782638 h 1108075"/>
                  <a:gd name="connsiteX29" fmla="*/ 571671 w 587375"/>
                  <a:gd name="connsiteY29" fmla="*/ 782638 h 1108075"/>
                  <a:gd name="connsiteX30" fmla="*/ 587375 w 587375"/>
                  <a:gd name="connsiteY30" fmla="*/ 797720 h 1108075"/>
                  <a:gd name="connsiteX31" fmla="*/ 571671 w 587375"/>
                  <a:gd name="connsiteY31" fmla="*/ 812801 h 1108075"/>
                  <a:gd name="connsiteX32" fmla="*/ 283992 w 587375"/>
                  <a:gd name="connsiteY32" fmla="*/ 812801 h 1108075"/>
                  <a:gd name="connsiteX33" fmla="*/ 268287 w 587375"/>
                  <a:gd name="connsiteY33" fmla="*/ 797720 h 1108075"/>
                  <a:gd name="connsiteX34" fmla="*/ 283992 w 587375"/>
                  <a:gd name="connsiteY34" fmla="*/ 782638 h 1108075"/>
                  <a:gd name="connsiteX35" fmla="*/ 283992 w 587375"/>
                  <a:gd name="connsiteY35" fmla="*/ 681038 h 1108075"/>
                  <a:gd name="connsiteX36" fmla="*/ 571671 w 587375"/>
                  <a:gd name="connsiteY36" fmla="*/ 681038 h 1108075"/>
                  <a:gd name="connsiteX37" fmla="*/ 587375 w 587375"/>
                  <a:gd name="connsiteY37" fmla="*/ 696913 h 1108075"/>
                  <a:gd name="connsiteX38" fmla="*/ 571671 w 587375"/>
                  <a:gd name="connsiteY38" fmla="*/ 712788 h 1108075"/>
                  <a:gd name="connsiteX39" fmla="*/ 283992 w 587375"/>
                  <a:gd name="connsiteY39" fmla="*/ 712788 h 1108075"/>
                  <a:gd name="connsiteX40" fmla="*/ 268287 w 587375"/>
                  <a:gd name="connsiteY40" fmla="*/ 696913 h 1108075"/>
                  <a:gd name="connsiteX41" fmla="*/ 283992 w 587375"/>
                  <a:gd name="connsiteY41" fmla="*/ 681038 h 1108075"/>
                  <a:gd name="connsiteX42" fmla="*/ 15684 w 587375"/>
                  <a:gd name="connsiteY42" fmla="*/ 673100 h 1108075"/>
                  <a:gd name="connsiteX43" fmla="*/ 108362 w 587375"/>
                  <a:gd name="connsiteY43" fmla="*/ 673100 h 1108075"/>
                  <a:gd name="connsiteX44" fmla="*/ 76994 w 587375"/>
                  <a:gd name="connsiteY44" fmla="*/ 704468 h 1108075"/>
                  <a:gd name="connsiteX45" fmla="*/ 31368 w 587375"/>
                  <a:gd name="connsiteY45" fmla="*/ 704468 h 1108075"/>
                  <a:gd name="connsiteX46" fmla="*/ 31368 w 587375"/>
                  <a:gd name="connsiteY46" fmla="*/ 795720 h 1108075"/>
                  <a:gd name="connsiteX47" fmla="*/ 122620 w 587375"/>
                  <a:gd name="connsiteY47" fmla="*/ 795720 h 1108075"/>
                  <a:gd name="connsiteX48" fmla="*/ 122620 w 587375"/>
                  <a:gd name="connsiteY48" fmla="*/ 791443 h 1108075"/>
                  <a:gd name="connsiteX49" fmla="*/ 153988 w 587375"/>
                  <a:gd name="connsiteY49" fmla="*/ 760075 h 1108075"/>
                  <a:gd name="connsiteX50" fmla="*/ 153988 w 587375"/>
                  <a:gd name="connsiteY50" fmla="*/ 811404 h 1108075"/>
                  <a:gd name="connsiteX51" fmla="*/ 138304 w 587375"/>
                  <a:gd name="connsiteY51" fmla="*/ 827088 h 1108075"/>
                  <a:gd name="connsiteX52" fmla="*/ 15684 w 587375"/>
                  <a:gd name="connsiteY52" fmla="*/ 827088 h 1108075"/>
                  <a:gd name="connsiteX53" fmla="*/ 0 w 587375"/>
                  <a:gd name="connsiteY53" fmla="*/ 811404 h 1108075"/>
                  <a:gd name="connsiteX54" fmla="*/ 0 w 587375"/>
                  <a:gd name="connsiteY54" fmla="*/ 688784 h 1108075"/>
                  <a:gd name="connsiteX55" fmla="*/ 15684 w 587375"/>
                  <a:gd name="connsiteY55" fmla="*/ 673100 h 1108075"/>
                  <a:gd name="connsiteX56" fmla="*/ 283992 w 587375"/>
                  <a:gd name="connsiteY56" fmla="*/ 498475 h 1108075"/>
                  <a:gd name="connsiteX57" fmla="*/ 571671 w 587375"/>
                  <a:gd name="connsiteY57" fmla="*/ 498475 h 1108075"/>
                  <a:gd name="connsiteX58" fmla="*/ 587375 w 587375"/>
                  <a:gd name="connsiteY58" fmla="*/ 514350 h 1108075"/>
                  <a:gd name="connsiteX59" fmla="*/ 571671 w 587375"/>
                  <a:gd name="connsiteY59" fmla="*/ 530225 h 1108075"/>
                  <a:gd name="connsiteX60" fmla="*/ 283992 w 587375"/>
                  <a:gd name="connsiteY60" fmla="*/ 530225 h 1108075"/>
                  <a:gd name="connsiteX61" fmla="*/ 268287 w 587375"/>
                  <a:gd name="connsiteY61" fmla="*/ 514350 h 1108075"/>
                  <a:gd name="connsiteX62" fmla="*/ 283992 w 587375"/>
                  <a:gd name="connsiteY62" fmla="*/ 498475 h 1108075"/>
                  <a:gd name="connsiteX63" fmla="*/ 283992 w 587375"/>
                  <a:gd name="connsiteY63" fmla="*/ 396875 h 1108075"/>
                  <a:gd name="connsiteX64" fmla="*/ 571671 w 587375"/>
                  <a:gd name="connsiteY64" fmla="*/ 396875 h 1108075"/>
                  <a:gd name="connsiteX65" fmla="*/ 587375 w 587375"/>
                  <a:gd name="connsiteY65" fmla="*/ 412750 h 1108075"/>
                  <a:gd name="connsiteX66" fmla="*/ 571671 w 587375"/>
                  <a:gd name="connsiteY66" fmla="*/ 428625 h 1108075"/>
                  <a:gd name="connsiteX67" fmla="*/ 283992 w 587375"/>
                  <a:gd name="connsiteY67" fmla="*/ 428625 h 1108075"/>
                  <a:gd name="connsiteX68" fmla="*/ 268287 w 587375"/>
                  <a:gd name="connsiteY68" fmla="*/ 412750 h 1108075"/>
                  <a:gd name="connsiteX69" fmla="*/ 283992 w 587375"/>
                  <a:gd name="connsiteY69" fmla="*/ 396875 h 1108075"/>
                  <a:gd name="connsiteX70" fmla="*/ 15684 w 587375"/>
                  <a:gd name="connsiteY70" fmla="*/ 387350 h 1108075"/>
                  <a:gd name="connsiteX71" fmla="*/ 108362 w 587375"/>
                  <a:gd name="connsiteY71" fmla="*/ 387350 h 1108075"/>
                  <a:gd name="connsiteX72" fmla="*/ 76994 w 587375"/>
                  <a:gd name="connsiteY72" fmla="*/ 418718 h 1108075"/>
                  <a:gd name="connsiteX73" fmla="*/ 31368 w 587375"/>
                  <a:gd name="connsiteY73" fmla="*/ 418718 h 1108075"/>
                  <a:gd name="connsiteX74" fmla="*/ 31368 w 587375"/>
                  <a:gd name="connsiteY74" fmla="*/ 509970 h 1108075"/>
                  <a:gd name="connsiteX75" fmla="*/ 122620 w 587375"/>
                  <a:gd name="connsiteY75" fmla="*/ 509970 h 1108075"/>
                  <a:gd name="connsiteX76" fmla="*/ 122620 w 587375"/>
                  <a:gd name="connsiteY76" fmla="*/ 505693 h 1108075"/>
                  <a:gd name="connsiteX77" fmla="*/ 153988 w 587375"/>
                  <a:gd name="connsiteY77" fmla="*/ 474325 h 1108075"/>
                  <a:gd name="connsiteX78" fmla="*/ 153988 w 587375"/>
                  <a:gd name="connsiteY78" fmla="*/ 525654 h 1108075"/>
                  <a:gd name="connsiteX79" fmla="*/ 138304 w 587375"/>
                  <a:gd name="connsiteY79" fmla="*/ 541338 h 1108075"/>
                  <a:gd name="connsiteX80" fmla="*/ 15684 w 587375"/>
                  <a:gd name="connsiteY80" fmla="*/ 541338 h 1108075"/>
                  <a:gd name="connsiteX81" fmla="*/ 0 w 587375"/>
                  <a:gd name="connsiteY81" fmla="*/ 525654 h 1108075"/>
                  <a:gd name="connsiteX82" fmla="*/ 0 w 587375"/>
                  <a:gd name="connsiteY82" fmla="*/ 403034 h 1108075"/>
                  <a:gd name="connsiteX83" fmla="*/ 15684 w 587375"/>
                  <a:gd name="connsiteY83" fmla="*/ 387350 h 1108075"/>
                  <a:gd name="connsiteX84" fmla="*/ 293687 w 587375"/>
                  <a:gd name="connsiteY84" fmla="*/ 31750 h 1108075"/>
                  <a:gd name="connsiteX85" fmla="*/ 236537 w 587375"/>
                  <a:gd name="connsiteY85" fmla="*/ 66675 h 1108075"/>
                  <a:gd name="connsiteX86" fmla="*/ 350837 w 587375"/>
                  <a:gd name="connsiteY86" fmla="*/ 66675 h 1108075"/>
                  <a:gd name="connsiteX87" fmla="*/ 293687 w 587375"/>
                  <a:gd name="connsiteY87" fmla="*/ 31750 h 1108075"/>
                  <a:gd name="connsiteX88" fmla="*/ 293688 w 587375"/>
                  <a:gd name="connsiteY88" fmla="*/ 0 h 1108075"/>
                  <a:gd name="connsiteX89" fmla="*/ 383990 w 587375"/>
                  <a:gd name="connsiteY89" fmla="*/ 67287 h 1108075"/>
                  <a:gd name="connsiteX90" fmla="*/ 434158 w 587375"/>
                  <a:gd name="connsiteY90" fmla="*/ 67287 h 1108075"/>
                  <a:gd name="connsiteX91" fmla="*/ 441325 w 587375"/>
                  <a:gd name="connsiteY91" fmla="*/ 74445 h 1108075"/>
                  <a:gd name="connsiteX92" fmla="*/ 441325 w 587375"/>
                  <a:gd name="connsiteY92" fmla="*/ 181102 h 1108075"/>
                  <a:gd name="connsiteX93" fmla="*/ 425558 w 587375"/>
                  <a:gd name="connsiteY93" fmla="*/ 196850 h 1108075"/>
                  <a:gd name="connsiteX94" fmla="*/ 161817 w 587375"/>
                  <a:gd name="connsiteY94" fmla="*/ 196850 h 1108075"/>
                  <a:gd name="connsiteX95" fmla="*/ 146050 w 587375"/>
                  <a:gd name="connsiteY95" fmla="*/ 181102 h 1108075"/>
                  <a:gd name="connsiteX96" fmla="*/ 146050 w 587375"/>
                  <a:gd name="connsiteY96" fmla="*/ 74445 h 1108075"/>
                  <a:gd name="connsiteX97" fmla="*/ 153217 w 587375"/>
                  <a:gd name="connsiteY97" fmla="*/ 67287 h 1108075"/>
                  <a:gd name="connsiteX98" fmla="*/ 203385 w 587375"/>
                  <a:gd name="connsiteY98" fmla="*/ 67287 h 1108075"/>
                  <a:gd name="connsiteX99" fmla="*/ 293688 w 587375"/>
                  <a:gd name="connsiteY99" fmla="*/ 0 h 1108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</a:cxnLst>
                <a:rect l="l" t="t" r="r" b="b"/>
                <a:pathLst>
                  <a:path w="587375" h="1108075">
                    <a:moveTo>
                      <a:pt x="283992" y="1065213"/>
                    </a:moveTo>
                    <a:cubicBezTo>
                      <a:pt x="571671" y="1065213"/>
                      <a:pt x="571671" y="1065213"/>
                      <a:pt x="571671" y="1065213"/>
                    </a:cubicBezTo>
                    <a:cubicBezTo>
                      <a:pt x="580237" y="1065213"/>
                      <a:pt x="587375" y="1072068"/>
                      <a:pt x="587375" y="1080295"/>
                    </a:cubicBezTo>
                    <a:cubicBezTo>
                      <a:pt x="587375" y="1088521"/>
                      <a:pt x="580237" y="1095376"/>
                      <a:pt x="571671" y="1095376"/>
                    </a:cubicBezTo>
                    <a:cubicBezTo>
                      <a:pt x="283992" y="1095376"/>
                      <a:pt x="283992" y="1095376"/>
                      <a:pt x="283992" y="1095376"/>
                    </a:cubicBezTo>
                    <a:cubicBezTo>
                      <a:pt x="275426" y="1095376"/>
                      <a:pt x="268287" y="1088521"/>
                      <a:pt x="268287" y="1080295"/>
                    </a:cubicBezTo>
                    <a:cubicBezTo>
                      <a:pt x="268287" y="1072068"/>
                      <a:pt x="275426" y="1065213"/>
                      <a:pt x="283992" y="1065213"/>
                    </a:cubicBezTo>
                    <a:close/>
                    <a:moveTo>
                      <a:pt x="283992" y="963613"/>
                    </a:moveTo>
                    <a:cubicBezTo>
                      <a:pt x="571671" y="963613"/>
                      <a:pt x="571671" y="963613"/>
                      <a:pt x="571671" y="963613"/>
                    </a:cubicBezTo>
                    <a:cubicBezTo>
                      <a:pt x="580237" y="963613"/>
                      <a:pt x="587375" y="970107"/>
                      <a:pt x="587375" y="979488"/>
                    </a:cubicBezTo>
                    <a:cubicBezTo>
                      <a:pt x="587375" y="988147"/>
                      <a:pt x="580237" y="995363"/>
                      <a:pt x="571671" y="995363"/>
                    </a:cubicBezTo>
                    <a:cubicBezTo>
                      <a:pt x="283992" y="995363"/>
                      <a:pt x="283992" y="995363"/>
                      <a:pt x="283992" y="995363"/>
                    </a:cubicBezTo>
                    <a:cubicBezTo>
                      <a:pt x="275426" y="995363"/>
                      <a:pt x="268287" y="988147"/>
                      <a:pt x="268287" y="979488"/>
                    </a:cubicBezTo>
                    <a:cubicBezTo>
                      <a:pt x="268287" y="970107"/>
                      <a:pt x="275426" y="963613"/>
                      <a:pt x="283992" y="963613"/>
                    </a:cubicBezTo>
                    <a:close/>
                    <a:moveTo>
                      <a:pt x="15684" y="952500"/>
                    </a:moveTo>
                    <a:cubicBezTo>
                      <a:pt x="15684" y="952500"/>
                      <a:pt x="15684" y="952500"/>
                      <a:pt x="108362" y="952500"/>
                    </a:cubicBezTo>
                    <a:cubicBezTo>
                      <a:pt x="108362" y="952500"/>
                      <a:pt x="108362" y="952500"/>
                      <a:pt x="76994" y="984191"/>
                    </a:cubicBezTo>
                    <a:cubicBezTo>
                      <a:pt x="76994" y="984191"/>
                      <a:pt x="76994" y="984191"/>
                      <a:pt x="31368" y="984191"/>
                    </a:cubicBezTo>
                    <a:cubicBezTo>
                      <a:pt x="31368" y="984191"/>
                      <a:pt x="31368" y="984191"/>
                      <a:pt x="31368" y="1076384"/>
                    </a:cubicBezTo>
                    <a:cubicBezTo>
                      <a:pt x="31368" y="1076384"/>
                      <a:pt x="31368" y="1076384"/>
                      <a:pt x="122620" y="1076384"/>
                    </a:cubicBezTo>
                    <a:cubicBezTo>
                      <a:pt x="122620" y="1076384"/>
                      <a:pt x="122620" y="1076384"/>
                      <a:pt x="122620" y="1072062"/>
                    </a:cubicBezTo>
                    <a:lnTo>
                      <a:pt x="153988" y="1040371"/>
                    </a:lnTo>
                    <a:cubicBezTo>
                      <a:pt x="153988" y="1040371"/>
                      <a:pt x="153988" y="1040371"/>
                      <a:pt x="153988" y="1092230"/>
                    </a:cubicBezTo>
                    <a:cubicBezTo>
                      <a:pt x="153988" y="1100873"/>
                      <a:pt x="146859" y="1108075"/>
                      <a:pt x="138304" y="1108075"/>
                    </a:cubicBezTo>
                    <a:cubicBezTo>
                      <a:pt x="138304" y="1108075"/>
                      <a:pt x="138304" y="1108075"/>
                      <a:pt x="15684" y="1108075"/>
                    </a:cubicBezTo>
                    <a:cubicBezTo>
                      <a:pt x="7129" y="1108075"/>
                      <a:pt x="0" y="1100873"/>
                      <a:pt x="0" y="1092230"/>
                    </a:cubicBezTo>
                    <a:cubicBezTo>
                      <a:pt x="0" y="1092230"/>
                      <a:pt x="0" y="1092230"/>
                      <a:pt x="0" y="968346"/>
                    </a:cubicBezTo>
                    <a:cubicBezTo>
                      <a:pt x="0" y="959703"/>
                      <a:pt x="7129" y="952500"/>
                      <a:pt x="15684" y="952500"/>
                    </a:cubicBezTo>
                    <a:close/>
                    <a:moveTo>
                      <a:pt x="283992" y="782638"/>
                    </a:moveTo>
                    <a:cubicBezTo>
                      <a:pt x="571671" y="782638"/>
                      <a:pt x="571671" y="782638"/>
                      <a:pt x="571671" y="782638"/>
                    </a:cubicBezTo>
                    <a:cubicBezTo>
                      <a:pt x="580237" y="782638"/>
                      <a:pt x="587375" y="788808"/>
                      <a:pt x="587375" y="797720"/>
                    </a:cubicBezTo>
                    <a:cubicBezTo>
                      <a:pt x="587375" y="805946"/>
                      <a:pt x="580237" y="812801"/>
                      <a:pt x="571671" y="812801"/>
                    </a:cubicBezTo>
                    <a:cubicBezTo>
                      <a:pt x="283992" y="812801"/>
                      <a:pt x="283992" y="812801"/>
                      <a:pt x="283992" y="812801"/>
                    </a:cubicBezTo>
                    <a:cubicBezTo>
                      <a:pt x="275426" y="812801"/>
                      <a:pt x="268287" y="805946"/>
                      <a:pt x="268287" y="797720"/>
                    </a:cubicBezTo>
                    <a:cubicBezTo>
                      <a:pt x="268287" y="788808"/>
                      <a:pt x="275426" y="782638"/>
                      <a:pt x="283992" y="782638"/>
                    </a:cubicBezTo>
                    <a:close/>
                    <a:moveTo>
                      <a:pt x="283992" y="681038"/>
                    </a:moveTo>
                    <a:cubicBezTo>
                      <a:pt x="571671" y="681038"/>
                      <a:pt x="571671" y="681038"/>
                      <a:pt x="571671" y="681038"/>
                    </a:cubicBezTo>
                    <a:cubicBezTo>
                      <a:pt x="580237" y="681038"/>
                      <a:pt x="587375" y="688254"/>
                      <a:pt x="587375" y="696913"/>
                    </a:cubicBezTo>
                    <a:cubicBezTo>
                      <a:pt x="587375" y="705572"/>
                      <a:pt x="580237" y="712788"/>
                      <a:pt x="571671" y="712788"/>
                    </a:cubicBezTo>
                    <a:cubicBezTo>
                      <a:pt x="283992" y="712788"/>
                      <a:pt x="283992" y="712788"/>
                      <a:pt x="283992" y="712788"/>
                    </a:cubicBezTo>
                    <a:cubicBezTo>
                      <a:pt x="275426" y="712788"/>
                      <a:pt x="268287" y="705572"/>
                      <a:pt x="268287" y="696913"/>
                    </a:cubicBezTo>
                    <a:cubicBezTo>
                      <a:pt x="268287" y="688254"/>
                      <a:pt x="275426" y="681038"/>
                      <a:pt x="283992" y="681038"/>
                    </a:cubicBezTo>
                    <a:close/>
                    <a:moveTo>
                      <a:pt x="15684" y="673100"/>
                    </a:moveTo>
                    <a:cubicBezTo>
                      <a:pt x="15684" y="673100"/>
                      <a:pt x="15684" y="673100"/>
                      <a:pt x="108362" y="673100"/>
                    </a:cubicBezTo>
                    <a:cubicBezTo>
                      <a:pt x="108362" y="673100"/>
                      <a:pt x="108362" y="673100"/>
                      <a:pt x="76994" y="704468"/>
                    </a:cubicBezTo>
                    <a:cubicBezTo>
                      <a:pt x="76994" y="704468"/>
                      <a:pt x="76994" y="704468"/>
                      <a:pt x="31368" y="704468"/>
                    </a:cubicBezTo>
                    <a:cubicBezTo>
                      <a:pt x="31368" y="704468"/>
                      <a:pt x="31368" y="704468"/>
                      <a:pt x="31368" y="795720"/>
                    </a:cubicBezTo>
                    <a:cubicBezTo>
                      <a:pt x="31368" y="795720"/>
                      <a:pt x="31368" y="795720"/>
                      <a:pt x="122620" y="795720"/>
                    </a:cubicBezTo>
                    <a:cubicBezTo>
                      <a:pt x="122620" y="795720"/>
                      <a:pt x="122620" y="795720"/>
                      <a:pt x="122620" y="791443"/>
                    </a:cubicBezTo>
                    <a:lnTo>
                      <a:pt x="153988" y="760075"/>
                    </a:lnTo>
                    <a:cubicBezTo>
                      <a:pt x="153988" y="760075"/>
                      <a:pt x="153988" y="760075"/>
                      <a:pt x="153988" y="811404"/>
                    </a:cubicBezTo>
                    <a:cubicBezTo>
                      <a:pt x="153988" y="819959"/>
                      <a:pt x="146859" y="827088"/>
                      <a:pt x="138304" y="827088"/>
                    </a:cubicBezTo>
                    <a:cubicBezTo>
                      <a:pt x="138304" y="827088"/>
                      <a:pt x="138304" y="827088"/>
                      <a:pt x="15684" y="827088"/>
                    </a:cubicBezTo>
                    <a:cubicBezTo>
                      <a:pt x="7129" y="827088"/>
                      <a:pt x="0" y="819959"/>
                      <a:pt x="0" y="811404"/>
                    </a:cubicBezTo>
                    <a:cubicBezTo>
                      <a:pt x="0" y="811404"/>
                      <a:pt x="0" y="811404"/>
                      <a:pt x="0" y="688784"/>
                    </a:cubicBezTo>
                    <a:cubicBezTo>
                      <a:pt x="0" y="680229"/>
                      <a:pt x="7129" y="673100"/>
                      <a:pt x="15684" y="673100"/>
                    </a:cubicBezTo>
                    <a:close/>
                    <a:moveTo>
                      <a:pt x="283992" y="498475"/>
                    </a:moveTo>
                    <a:cubicBezTo>
                      <a:pt x="571671" y="498475"/>
                      <a:pt x="571671" y="498475"/>
                      <a:pt x="571671" y="498475"/>
                    </a:cubicBezTo>
                    <a:cubicBezTo>
                      <a:pt x="580237" y="498475"/>
                      <a:pt x="587375" y="505691"/>
                      <a:pt x="587375" y="514350"/>
                    </a:cubicBezTo>
                    <a:cubicBezTo>
                      <a:pt x="587375" y="523009"/>
                      <a:pt x="580237" y="530225"/>
                      <a:pt x="571671" y="530225"/>
                    </a:cubicBezTo>
                    <a:cubicBezTo>
                      <a:pt x="283992" y="530225"/>
                      <a:pt x="283992" y="530225"/>
                      <a:pt x="283992" y="530225"/>
                    </a:cubicBezTo>
                    <a:cubicBezTo>
                      <a:pt x="275426" y="530225"/>
                      <a:pt x="268287" y="523009"/>
                      <a:pt x="268287" y="514350"/>
                    </a:cubicBezTo>
                    <a:cubicBezTo>
                      <a:pt x="268287" y="505691"/>
                      <a:pt x="275426" y="498475"/>
                      <a:pt x="283992" y="498475"/>
                    </a:cubicBezTo>
                    <a:close/>
                    <a:moveTo>
                      <a:pt x="283992" y="396875"/>
                    </a:moveTo>
                    <a:cubicBezTo>
                      <a:pt x="571671" y="396875"/>
                      <a:pt x="571671" y="396875"/>
                      <a:pt x="571671" y="396875"/>
                    </a:cubicBezTo>
                    <a:cubicBezTo>
                      <a:pt x="580237" y="396875"/>
                      <a:pt x="587375" y="404091"/>
                      <a:pt x="587375" y="412750"/>
                    </a:cubicBezTo>
                    <a:cubicBezTo>
                      <a:pt x="587375" y="422131"/>
                      <a:pt x="580237" y="428625"/>
                      <a:pt x="571671" y="428625"/>
                    </a:cubicBezTo>
                    <a:cubicBezTo>
                      <a:pt x="283992" y="428625"/>
                      <a:pt x="283992" y="428625"/>
                      <a:pt x="283992" y="428625"/>
                    </a:cubicBezTo>
                    <a:cubicBezTo>
                      <a:pt x="275426" y="428625"/>
                      <a:pt x="268287" y="422131"/>
                      <a:pt x="268287" y="412750"/>
                    </a:cubicBezTo>
                    <a:cubicBezTo>
                      <a:pt x="268287" y="404091"/>
                      <a:pt x="275426" y="396875"/>
                      <a:pt x="283992" y="396875"/>
                    </a:cubicBezTo>
                    <a:close/>
                    <a:moveTo>
                      <a:pt x="15684" y="387350"/>
                    </a:moveTo>
                    <a:cubicBezTo>
                      <a:pt x="15684" y="387350"/>
                      <a:pt x="15684" y="387350"/>
                      <a:pt x="108362" y="387350"/>
                    </a:cubicBezTo>
                    <a:cubicBezTo>
                      <a:pt x="108362" y="387350"/>
                      <a:pt x="108362" y="387350"/>
                      <a:pt x="76994" y="418718"/>
                    </a:cubicBezTo>
                    <a:cubicBezTo>
                      <a:pt x="76994" y="418718"/>
                      <a:pt x="76994" y="418718"/>
                      <a:pt x="31368" y="418718"/>
                    </a:cubicBezTo>
                    <a:cubicBezTo>
                      <a:pt x="31368" y="418718"/>
                      <a:pt x="31368" y="418718"/>
                      <a:pt x="31368" y="509970"/>
                    </a:cubicBezTo>
                    <a:cubicBezTo>
                      <a:pt x="31368" y="509970"/>
                      <a:pt x="31368" y="509970"/>
                      <a:pt x="122620" y="509970"/>
                    </a:cubicBezTo>
                    <a:cubicBezTo>
                      <a:pt x="122620" y="509970"/>
                      <a:pt x="122620" y="509970"/>
                      <a:pt x="122620" y="505693"/>
                    </a:cubicBezTo>
                    <a:lnTo>
                      <a:pt x="153988" y="474325"/>
                    </a:lnTo>
                    <a:cubicBezTo>
                      <a:pt x="153988" y="474325"/>
                      <a:pt x="153988" y="474325"/>
                      <a:pt x="153988" y="525654"/>
                    </a:cubicBezTo>
                    <a:cubicBezTo>
                      <a:pt x="153988" y="534209"/>
                      <a:pt x="146859" y="541338"/>
                      <a:pt x="138304" y="541338"/>
                    </a:cubicBezTo>
                    <a:cubicBezTo>
                      <a:pt x="138304" y="541338"/>
                      <a:pt x="138304" y="541338"/>
                      <a:pt x="15684" y="541338"/>
                    </a:cubicBezTo>
                    <a:cubicBezTo>
                      <a:pt x="7129" y="541338"/>
                      <a:pt x="0" y="534209"/>
                      <a:pt x="0" y="525654"/>
                    </a:cubicBezTo>
                    <a:cubicBezTo>
                      <a:pt x="0" y="525654"/>
                      <a:pt x="0" y="525654"/>
                      <a:pt x="0" y="403034"/>
                    </a:cubicBezTo>
                    <a:cubicBezTo>
                      <a:pt x="0" y="394479"/>
                      <a:pt x="7129" y="387350"/>
                      <a:pt x="15684" y="387350"/>
                    </a:cubicBezTo>
                    <a:close/>
                    <a:moveTo>
                      <a:pt x="293687" y="31750"/>
                    </a:moveTo>
                    <a:cubicBezTo>
                      <a:pt x="268368" y="31750"/>
                      <a:pt x="246665" y="45720"/>
                      <a:pt x="236537" y="66675"/>
                    </a:cubicBezTo>
                    <a:cubicBezTo>
                      <a:pt x="236537" y="66675"/>
                      <a:pt x="236537" y="66675"/>
                      <a:pt x="350837" y="66675"/>
                    </a:cubicBezTo>
                    <a:cubicBezTo>
                      <a:pt x="340709" y="45720"/>
                      <a:pt x="319007" y="31750"/>
                      <a:pt x="293687" y="31750"/>
                    </a:cubicBezTo>
                    <a:close/>
                    <a:moveTo>
                      <a:pt x="293688" y="0"/>
                    </a:moveTo>
                    <a:cubicBezTo>
                      <a:pt x="335972" y="0"/>
                      <a:pt x="372523" y="27917"/>
                      <a:pt x="383990" y="67287"/>
                    </a:cubicBezTo>
                    <a:cubicBezTo>
                      <a:pt x="383990" y="67287"/>
                      <a:pt x="383990" y="67287"/>
                      <a:pt x="434158" y="67287"/>
                    </a:cubicBezTo>
                    <a:cubicBezTo>
                      <a:pt x="438458" y="67287"/>
                      <a:pt x="441325" y="70150"/>
                      <a:pt x="441325" y="74445"/>
                    </a:cubicBezTo>
                    <a:cubicBezTo>
                      <a:pt x="441325" y="74445"/>
                      <a:pt x="441325" y="74445"/>
                      <a:pt x="441325" y="181102"/>
                    </a:cubicBezTo>
                    <a:cubicBezTo>
                      <a:pt x="441325" y="189692"/>
                      <a:pt x="434158" y="196850"/>
                      <a:pt x="425558" y="196850"/>
                    </a:cubicBezTo>
                    <a:cubicBezTo>
                      <a:pt x="425558" y="196850"/>
                      <a:pt x="425558" y="196850"/>
                      <a:pt x="161817" y="196850"/>
                    </a:cubicBezTo>
                    <a:cubicBezTo>
                      <a:pt x="153217" y="196850"/>
                      <a:pt x="146050" y="189692"/>
                      <a:pt x="146050" y="181102"/>
                    </a:cubicBezTo>
                    <a:cubicBezTo>
                      <a:pt x="146050" y="181102"/>
                      <a:pt x="146050" y="181102"/>
                      <a:pt x="146050" y="74445"/>
                    </a:cubicBezTo>
                    <a:cubicBezTo>
                      <a:pt x="146050" y="70150"/>
                      <a:pt x="148917" y="67287"/>
                      <a:pt x="153217" y="67287"/>
                    </a:cubicBezTo>
                    <a:cubicBezTo>
                      <a:pt x="153217" y="67287"/>
                      <a:pt x="153217" y="67287"/>
                      <a:pt x="203385" y="67287"/>
                    </a:cubicBezTo>
                    <a:cubicBezTo>
                      <a:pt x="214852" y="27917"/>
                      <a:pt x="251403" y="0"/>
                      <a:pt x="293688" y="0"/>
                    </a:cubicBezTo>
                    <a:close/>
                  </a:path>
                </a:pathLst>
              </a:custGeom>
              <a:solidFill>
                <a:srgbClr val="5D78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4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27" name="Группа 126"/>
            <p:cNvGrpSpPr/>
            <p:nvPr/>
          </p:nvGrpSpPr>
          <p:grpSpPr>
            <a:xfrm>
              <a:off x="10862957" y="3502518"/>
              <a:ext cx="346946" cy="505255"/>
              <a:chOff x="905026" y="2261248"/>
              <a:chExt cx="346946" cy="505255"/>
            </a:xfrm>
          </p:grpSpPr>
          <p:sp>
            <p:nvSpPr>
              <p:cNvPr id="128" name="Freeform 201"/>
              <p:cNvSpPr>
                <a:spLocks/>
              </p:cNvSpPr>
              <p:nvPr/>
            </p:nvSpPr>
            <p:spPr bwMode="auto">
              <a:xfrm>
                <a:off x="905026" y="2305526"/>
                <a:ext cx="346946" cy="460977"/>
              </a:xfrm>
              <a:custGeom>
                <a:avLst/>
                <a:gdLst>
                  <a:gd name="connsiteX0" fmla="*/ 322278 w 908050"/>
                  <a:gd name="connsiteY0" fmla="*/ 827162 h 1206500"/>
                  <a:gd name="connsiteX1" fmla="*/ 344412 w 908050"/>
                  <a:gd name="connsiteY1" fmla="*/ 827162 h 1206500"/>
                  <a:gd name="connsiteX2" fmla="*/ 344412 w 908050"/>
                  <a:gd name="connsiteY2" fmla="*/ 849293 h 1206500"/>
                  <a:gd name="connsiteX3" fmla="*/ 257305 w 908050"/>
                  <a:gd name="connsiteY3" fmla="*/ 936390 h 1206500"/>
                  <a:gd name="connsiteX4" fmla="*/ 246595 w 908050"/>
                  <a:gd name="connsiteY4" fmla="*/ 941387 h 1206500"/>
                  <a:gd name="connsiteX5" fmla="*/ 235171 w 908050"/>
                  <a:gd name="connsiteY5" fmla="*/ 936390 h 1206500"/>
                  <a:gd name="connsiteX6" fmla="*/ 207325 w 908050"/>
                  <a:gd name="connsiteY6" fmla="*/ 909261 h 1206500"/>
                  <a:gd name="connsiteX7" fmla="*/ 207325 w 908050"/>
                  <a:gd name="connsiteY7" fmla="*/ 887130 h 1206500"/>
                  <a:gd name="connsiteX8" fmla="*/ 229459 w 908050"/>
                  <a:gd name="connsiteY8" fmla="*/ 887130 h 1206500"/>
                  <a:gd name="connsiteX9" fmla="*/ 246595 w 908050"/>
                  <a:gd name="connsiteY9" fmla="*/ 903550 h 1206500"/>
                  <a:gd name="connsiteX10" fmla="*/ 322278 w 908050"/>
                  <a:gd name="connsiteY10" fmla="*/ 827162 h 1206500"/>
                  <a:gd name="connsiteX11" fmla="*/ 322278 w 908050"/>
                  <a:gd name="connsiteY11" fmla="*/ 545495 h 1206500"/>
                  <a:gd name="connsiteX12" fmla="*/ 344412 w 908050"/>
                  <a:gd name="connsiteY12" fmla="*/ 545495 h 1206500"/>
                  <a:gd name="connsiteX13" fmla="*/ 344412 w 908050"/>
                  <a:gd name="connsiteY13" fmla="*/ 567758 h 1206500"/>
                  <a:gd name="connsiteX14" fmla="*/ 257305 w 908050"/>
                  <a:gd name="connsiteY14" fmla="*/ 656091 h 1206500"/>
                  <a:gd name="connsiteX15" fmla="*/ 246595 w 908050"/>
                  <a:gd name="connsiteY15" fmla="*/ 660400 h 1206500"/>
                  <a:gd name="connsiteX16" fmla="*/ 235171 w 908050"/>
                  <a:gd name="connsiteY16" fmla="*/ 656091 h 1206500"/>
                  <a:gd name="connsiteX17" fmla="*/ 207325 w 908050"/>
                  <a:gd name="connsiteY17" fmla="*/ 628083 h 1206500"/>
                  <a:gd name="connsiteX18" fmla="*/ 207325 w 908050"/>
                  <a:gd name="connsiteY18" fmla="*/ 605820 h 1206500"/>
                  <a:gd name="connsiteX19" fmla="*/ 229459 w 908050"/>
                  <a:gd name="connsiteY19" fmla="*/ 605820 h 1206500"/>
                  <a:gd name="connsiteX20" fmla="*/ 246595 w 908050"/>
                  <a:gd name="connsiteY20" fmla="*/ 622338 h 1206500"/>
                  <a:gd name="connsiteX21" fmla="*/ 322278 w 908050"/>
                  <a:gd name="connsiteY21" fmla="*/ 545495 h 1206500"/>
                  <a:gd name="connsiteX22" fmla="*/ 322278 w 908050"/>
                  <a:gd name="connsiteY22" fmla="*/ 261332 h 1206500"/>
                  <a:gd name="connsiteX23" fmla="*/ 344412 w 908050"/>
                  <a:gd name="connsiteY23" fmla="*/ 261332 h 1206500"/>
                  <a:gd name="connsiteX24" fmla="*/ 344412 w 908050"/>
                  <a:gd name="connsiteY24" fmla="*/ 283595 h 1206500"/>
                  <a:gd name="connsiteX25" fmla="*/ 257305 w 908050"/>
                  <a:gd name="connsiteY25" fmla="*/ 371928 h 1206500"/>
                  <a:gd name="connsiteX26" fmla="*/ 246595 w 908050"/>
                  <a:gd name="connsiteY26" fmla="*/ 376237 h 1206500"/>
                  <a:gd name="connsiteX27" fmla="*/ 235171 w 908050"/>
                  <a:gd name="connsiteY27" fmla="*/ 371928 h 1206500"/>
                  <a:gd name="connsiteX28" fmla="*/ 207325 w 908050"/>
                  <a:gd name="connsiteY28" fmla="*/ 343920 h 1206500"/>
                  <a:gd name="connsiteX29" fmla="*/ 207325 w 908050"/>
                  <a:gd name="connsiteY29" fmla="*/ 321657 h 1206500"/>
                  <a:gd name="connsiteX30" fmla="*/ 229459 w 908050"/>
                  <a:gd name="connsiteY30" fmla="*/ 321657 h 1206500"/>
                  <a:gd name="connsiteX31" fmla="*/ 246595 w 908050"/>
                  <a:gd name="connsiteY31" fmla="*/ 338175 h 1206500"/>
                  <a:gd name="connsiteX32" fmla="*/ 322278 w 908050"/>
                  <a:gd name="connsiteY32" fmla="*/ 261332 h 1206500"/>
                  <a:gd name="connsiteX33" fmla="*/ 15681 w 908050"/>
                  <a:gd name="connsiteY33" fmla="*/ 0 h 1206500"/>
                  <a:gd name="connsiteX34" fmla="*/ 275836 w 908050"/>
                  <a:gd name="connsiteY34" fmla="*/ 0 h 1206500"/>
                  <a:gd name="connsiteX35" fmla="*/ 275836 w 908050"/>
                  <a:gd name="connsiteY35" fmla="*/ 31412 h 1206500"/>
                  <a:gd name="connsiteX36" fmla="*/ 31361 w 908050"/>
                  <a:gd name="connsiteY36" fmla="*/ 31412 h 1206500"/>
                  <a:gd name="connsiteX37" fmla="*/ 31361 w 908050"/>
                  <a:gd name="connsiteY37" fmla="*/ 1175088 h 1206500"/>
                  <a:gd name="connsiteX38" fmla="*/ 876689 w 908050"/>
                  <a:gd name="connsiteY38" fmla="*/ 1175088 h 1206500"/>
                  <a:gd name="connsiteX39" fmla="*/ 876689 w 908050"/>
                  <a:gd name="connsiteY39" fmla="*/ 31412 h 1206500"/>
                  <a:gd name="connsiteX40" fmla="*/ 632214 w 908050"/>
                  <a:gd name="connsiteY40" fmla="*/ 31412 h 1206500"/>
                  <a:gd name="connsiteX41" fmla="*/ 632214 w 908050"/>
                  <a:gd name="connsiteY41" fmla="*/ 0 h 1206500"/>
                  <a:gd name="connsiteX42" fmla="*/ 892370 w 908050"/>
                  <a:gd name="connsiteY42" fmla="*/ 0 h 1206500"/>
                  <a:gd name="connsiteX43" fmla="*/ 908050 w 908050"/>
                  <a:gd name="connsiteY43" fmla="*/ 15706 h 1206500"/>
                  <a:gd name="connsiteX44" fmla="*/ 908050 w 908050"/>
                  <a:gd name="connsiteY44" fmla="*/ 1190794 h 1206500"/>
                  <a:gd name="connsiteX45" fmla="*/ 892370 w 908050"/>
                  <a:gd name="connsiteY45" fmla="*/ 1206500 h 1206500"/>
                  <a:gd name="connsiteX46" fmla="*/ 15681 w 908050"/>
                  <a:gd name="connsiteY46" fmla="*/ 1206500 h 1206500"/>
                  <a:gd name="connsiteX47" fmla="*/ 0 w 908050"/>
                  <a:gd name="connsiteY47" fmla="*/ 1190794 h 1206500"/>
                  <a:gd name="connsiteX48" fmla="*/ 0 w 908050"/>
                  <a:gd name="connsiteY48" fmla="*/ 15706 h 1206500"/>
                  <a:gd name="connsiteX49" fmla="*/ 15681 w 908050"/>
                  <a:gd name="connsiteY49" fmla="*/ 0 h 1206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908050" h="1206500">
                    <a:moveTo>
                      <a:pt x="322278" y="827162"/>
                    </a:moveTo>
                    <a:cubicBezTo>
                      <a:pt x="328704" y="820737"/>
                      <a:pt x="338700" y="820737"/>
                      <a:pt x="344412" y="827162"/>
                    </a:cubicBezTo>
                    <a:cubicBezTo>
                      <a:pt x="350838" y="833587"/>
                      <a:pt x="350838" y="843582"/>
                      <a:pt x="344412" y="849293"/>
                    </a:cubicBezTo>
                    <a:cubicBezTo>
                      <a:pt x="257305" y="936390"/>
                      <a:pt x="257305" y="936390"/>
                      <a:pt x="257305" y="936390"/>
                    </a:cubicBezTo>
                    <a:cubicBezTo>
                      <a:pt x="254449" y="939959"/>
                      <a:pt x="250165" y="941387"/>
                      <a:pt x="246595" y="941387"/>
                    </a:cubicBezTo>
                    <a:cubicBezTo>
                      <a:pt x="242311" y="941387"/>
                      <a:pt x="238027" y="939959"/>
                      <a:pt x="235171" y="936390"/>
                    </a:cubicBezTo>
                    <a:cubicBezTo>
                      <a:pt x="207325" y="909261"/>
                      <a:pt x="207325" y="909261"/>
                      <a:pt x="207325" y="909261"/>
                    </a:cubicBezTo>
                    <a:cubicBezTo>
                      <a:pt x="201613" y="902836"/>
                      <a:pt x="201613" y="892842"/>
                      <a:pt x="207325" y="887130"/>
                    </a:cubicBezTo>
                    <a:cubicBezTo>
                      <a:pt x="213751" y="880705"/>
                      <a:pt x="223747" y="880705"/>
                      <a:pt x="229459" y="887130"/>
                    </a:cubicBezTo>
                    <a:cubicBezTo>
                      <a:pt x="246595" y="903550"/>
                      <a:pt x="246595" y="903550"/>
                      <a:pt x="246595" y="903550"/>
                    </a:cubicBezTo>
                    <a:cubicBezTo>
                      <a:pt x="322278" y="827162"/>
                      <a:pt x="322278" y="827162"/>
                      <a:pt x="322278" y="827162"/>
                    </a:cubicBezTo>
                    <a:close/>
                    <a:moveTo>
                      <a:pt x="322278" y="545495"/>
                    </a:moveTo>
                    <a:cubicBezTo>
                      <a:pt x="328704" y="539750"/>
                      <a:pt x="338700" y="539750"/>
                      <a:pt x="344412" y="545495"/>
                    </a:cubicBezTo>
                    <a:cubicBezTo>
                      <a:pt x="350838" y="551959"/>
                      <a:pt x="350838" y="562013"/>
                      <a:pt x="344412" y="567758"/>
                    </a:cubicBezTo>
                    <a:cubicBezTo>
                      <a:pt x="257305" y="656091"/>
                      <a:pt x="257305" y="656091"/>
                      <a:pt x="257305" y="656091"/>
                    </a:cubicBezTo>
                    <a:cubicBezTo>
                      <a:pt x="254449" y="658964"/>
                      <a:pt x="250165" y="660400"/>
                      <a:pt x="246595" y="660400"/>
                    </a:cubicBezTo>
                    <a:cubicBezTo>
                      <a:pt x="242311" y="660400"/>
                      <a:pt x="238027" y="658964"/>
                      <a:pt x="235171" y="656091"/>
                    </a:cubicBezTo>
                    <a:cubicBezTo>
                      <a:pt x="207325" y="628083"/>
                      <a:pt x="207325" y="628083"/>
                      <a:pt x="207325" y="628083"/>
                    </a:cubicBezTo>
                    <a:cubicBezTo>
                      <a:pt x="201613" y="622338"/>
                      <a:pt x="201613" y="612284"/>
                      <a:pt x="207325" y="605820"/>
                    </a:cubicBezTo>
                    <a:cubicBezTo>
                      <a:pt x="213751" y="599357"/>
                      <a:pt x="223747" y="599357"/>
                      <a:pt x="229459" y="605820"/>
                    </a:cubicBezTo>
                    <a:cubicBezTo>
                      <a:pt x="246595" y="622338"/>
                      <a:pt x="246595" y="622338"/>
                      <a:pt x="246595" y="622338"/>
                    </a:cubicBezTo>
                    <a:cubicBezTo>
                      <a:pt x="322278" y="545495"/>
                      <a:pt x="322278" y="545495"/>
                      <a:pt x="322278" y="545495"/>
                    </a:cubicBezTo>
                    <a:close/>
                    <a:moveTo>
                      <a:pt x="322278" y="261332"/>
                    </a:moveTo>
                    <a:cubicBezTo>
                      <a:pt x="328704" y="255587"/>
                      <a:pt x="338700" y="255587"/>
                      <a:pt x="344412" y="261332"/>
                    </a:cubicBezTo>
                    <a:cubicBezTo>
                      <a:pt x="350838" y="267796"/>
                      <a:pt x="350838" y="277850"/>
                      <a:pt x="344412" y="283595"/>
                    </a:cubicBezTo>
                    <a:cubicBezTo>
                      <a:pt x="257305" y="371928"/>
                      <a:pt x="257305" y="371928"/>
                      <a:pt x="257305" y="371928"/>
                    </a:cubicBezTo>
                    <a:cubicBezTo>
                      <a:pt x="254449" y="374801"/>
                      <a:pt x="250165" y="376237"/>
                      <a:pt x="246595" y="376237"/>
                    </a:cubicBezTo>
                    <a:cubicBezTo>
                      <a:pt x="242311" y="376237"/>
                      <a:pt x="238027" y="374801"/>
                      <a:pt x="235171" y="371928"/>
                    </a:cubicBezTo>
                    <a:cubicBezTo>
                      <a:pt x="207325" y="343920"/>
                      <a:pt x="207325" y="343920"/>
                      <a:pt x="207325" y="343920"/>
                    </a:cubicBezTo>
                    <a:cubicBezTo>
                      <a:pt x="201613" y="337457"/>
                      <a:pt x="201613" y="327403"/>
                      <a:pt x="207325" y="321657"/>
                    </a:cubicBezTo>
                    <a:cubicBezTo>
                      <a:pt x="213751" y="315194"/>
                      <a:pt x="223747" y="315194"/>
                      <a:pt x="229459" y="321657"/>
                    </a:cubicBezTo>
                    <a:cubicBezTo>
                      <a:pt x="246595" y="338175"/>
                      <a:pt x="246595" y="338175"/>
                      <a:pt x="246595" y="338175"/>
                    </a:cubicBezTo>
                    <a:cubicBezTo>
                      <a:pt x="322278" y="261332"/>
                      <a:pt x="322278" y="261332"/>
                      <a:pt x="322278" y="261332"/>
                    </a:cubicBezTo>
                    <a:close/>
                    <a:moveTo>
                      <a:pt x="15681" y="0"/>
                    </a:moveTo>
                    <a:cubicBezTo>
                      <a:pt x="15681" y="0"/>
                      <a:pt x="15681" y="0"/>
                      <a:pt x="275836" y="0"/>
                    </a:cubicBezTo>
                    <a:cubicBezTo>
                      <a:pt x="275836" y="0"/>
                      <a:pt x="275836" y="0"/>
                      <a:pt x="275836" y="31412"/>
                    </a:cubicBezTo>
                    <a:cubicBezTo>
                      <a:pt x="275836" y="31412"/>
                      <a:pt x="275836" y="31412"/>
                      <a:pt x="31361" y="31412"/>
                    </a:cubicBezTo>
                    <a:cubicBezTo>
                      <a:pt x="31361" y="31412"/>
                      <a:pt x="31361" y="31412"/>
                      <a:pt x="31361" y="1175088"/>
                    </a:cubicBezTo>
                    <a:cubicBezTo>
                      <a:pt x="31361" y="1175088"/>
                      <a:pt x="31361" y="1175088"/>
                      <a:pt x="876689" y="1175088"/>
                    </a:cubicBezTo>
                    <a:cubicBezTo>
                      <a:pt x="876689" y="1175088"/>
                      <a:pt x="876689" y="1175088"/>
                      <a:pt x="876689" y="31412"/>
                    </a:cubicBezTo>
                    <a:cubicBezTo>
                      <a:pt x="876689" y="31412"/>
                      <a:pt x="876689" y="31412"/>
                      <a:pt x="632214" y="31412"/>
                    </a:cubicBezTo>
                    <a:cubicBezTo>
                      <a:pt x="632214" y="31412"/>
                      <a:pt x="632214" y="31412"/>
                      <a:pt x="632214" y="0"/>
                    </a:cubicBezTo>
                    <a:cubicBezTo>
                      <a:pt x="632214" y="0"/>
                      <a:pt x="632214" y="0"/>
                      <a:pt x="892370" y="0"/>
                    </a:cubicBezTo>
                    <a:cubicBezTo>
                      <a:pt x="900923" y="0"/>
                      <a:pt x="908050" y="7139"/>
                      <a:pt x="908050" y="15706"/>
                    </a:cubicBezTo>
                    <a:cubicBezTo>
                      <a:pt x="908050" y="15706"/>
                      <a:pt x="908050" y="15706"/>
                      <a:pt x="908050" y="1190794"/>
                    </a:cubicBezTo>
                    <a:cubicBezTo>
                      <a:pt x="908050" y="1199361"/>
                      <a:pt x="900923" y="1206500"/>
                      <a:pt x="892370" y="1206500"/>
                    </a:cubicBezTo>
                    <a:cubicBezTo>
                      <a:pt x="892370" y="1206500"/>
                      <a:pt x="892370" y="1206500"/>
                      <a:pt x="15681" y="1206500"/>
                    </a:cubicBezTo>
                    <a:cubicBezTo>
                      <a:pt x="7128" y="1206500"/>
                      <a:pt x="0" y="1199361"/>
                      <a:pt x="0" y="1190794"/>
                    </a:cubicBezTo>
                    <a:cubicBezTo>
                      <a:pt x="0" y="1190794"/>
                      <a:pt x="0" y="1190794"/>
                      <a:pt x="0" y="15706"/>
                    </a:cubicBezTo>
                    <a:cubicBezTo>
                      <a:pt x="0" y="7139"/>
                      <a:pt x="7128" y="0"/>
                      <a:pt x="15681" y="0"/>
                    </a:cubicBezTo>
                    <a:close/>
                  </a:path>
                </a:pathLst>
              </a:custGeom>
              <a:solidFill>
                <a:srgbClr val="283B8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4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9" name="Freeform 202"/>
              <p:cNvSpPr>
                <a:spLocks/>
              </p:cNvSpPr>
              <p:nvPr/>
            </p:nvSpPr>
            <p:spPr bwMode="auto">
              <a:xfrm>
                <a:off x="966288" y="2261248"/>
                <a:ext cx="224423" cy="423371"/>
              </a:xfrm>
              <a:custGeom>
                <a:avLst/>
                <a:gdLst>
                  <a:gd name="connsiteX0" fmla="*/ 283992 w 587375"/>
                  <a:gd name="connsiteY0" fmla="*/ 1065213 h 1108075"/>
                  <a:gd name="connsiteX1" fmla="*/ 571671 w 587375"/>
                  <a:gd name="connsiteY1" fmla="*/ 1065213 h 1108075"/>
                  <a:gd name="connsiteX2" fmla="*/ 587375 w 587375"/>
                  <a:gd name="connsiteY2" fmla="*/ 1080295 h 1108075"/>
                  <a:gd name="connsiteX3" fmla="*/ 571671 w 587375"/>
                  <a:gd name="connsiteY3" fmla="*/ 1095376 h 1108075"/>
                  <a:gd name="connsiteX4" fmla="*/ 283992 w 587375"/>
                  <a:gd name="connsiteY4" fmla="*/ 1095376 h 1108075"/>
                  <a:gd name="connsiteX5" fmla="*/ 268287 w 587375"/>
                  <a:gd name="connsiteY5" fmla="*/ 1080295 h 1108075"/>
                  <a:gd name="connsiteX6" fmla="*/ 283992 w 587375"/>
                  <a:gd name="connsiteY6" fmla="*/ 1065213 h 1108075"/>
                  <a:gd name="connsiteX7" fmla="*/ 283992 w 587375"/>
                  <a:gd name="connsiteY7" fmla="*/ 963613 h 1108075"/>
                  <a:gd name="connsiteX8" fmla="*/ 571671 w 587375"/>
                  <a:gd name="connsiteY8" fmla="*/ 963613 h 1108075"/>
                  <a:gd name="connsiteX9" fmla="*/ 587375 w 587375"/>
                  <a:gd name="connsiteY9" fmla="*/ 979488 h 1108075"/>
                  <a:gd name="connsiteX10" fmla="*/ 571671 w 587375"/>
                  <a:gd name="connsiteY10" fmla="*/ 995363 h 1108075"/>
                  <a:gd name="connsiteX11" fmla="*/ 283992 w 587375"/>
                  <a:gd name="connsiteY11" fmla="*/ 995363 h 1108075"/>
                  <a:gd name="connsiteX12" fmla="*/ 268287 w 587375"/>
                  <a:gd name="connsiteY12" fmla="*/ 979488 h 1108075"/>
                  <a:gd name="connsiteX13" fmla="*/ 283992 w 587375"/>
                  <a:gd name="connsiteY13" fmla="*/ 963613 h 1108075"/>
                  <a:gd name="connsiteX14" fmla="*/ 15684 w 587375"/>
                  <a:gd name="connsiteY14" fmla="*/ 952500 h 1108075"/>
                  <a:gd name="connsiteX15" fmla="*/ 108362 w 587375"/>
                  <a:gd name="connsiteY15" fmla="*/ 952500 h 1108075"/>
                  <a:gd name="connsiteX16" fmla="*/ 76994 w 587375"/>
                  <a:gd name="connsiteY16" fmla="*/ 984191 h 1108075"/>
                  <a:gd name="connsiteX17" fmla="*/ 31368 w 587375"/>
                  <a:gd name="connsiteY17" fmla="*/ 984191 h 1108075"/>
                  <a:gd name="connsiteX18" fmla="*/ 31368 w 587375"/>
                  <a:gd name="connsiteY18" fmla="*/ 1076384 h 1108075"/>
                  <a:gd name="connsiteX19" fmla="*/ 122620 w 587375"/>
                  <a:gd name="connsiteY19" fmla="*/ 1076384 h 1108075"/>
                  <a:gd name="connsiteX20" fmla="*/ 122620 w 587375"/>
                  <a:gd name="connsiteY20" fmla="*/ 1072062 h 1108075"/>
                  <a:gd name="connsiteX21" fmla="*/ 153988 w 587375"/>
                  <a:gd name="connsiteY21" fmla="*/ 1040371 h 1108075"/>
                  <a:gd name="connsiteX22" fmla="*/ 153988 w 587375"/>
                  <a:gd name="connsiteY22" fmla="*/ 1092230 h 1108075"/>
                  <a:gd name="connsiteX23" fmla="*/ 138304 w 587375"/>
                  <a:gd name="connsiteY23" fmla="*/ 1108075 h 1108075"/>
                  <a:gd name="connsiteX24" fmla="*/ 15684 w 587375"/>
                  <a:gd name="connsiteY24" fmla="*/ 1108075 h 1108075"/>
                  <a:gd name="connsiteX25" fmla="*/ 0 w 587375"/>
                  <a:gd name="connsiteY25" fmla="*/ 1092230 h 1108075"/>
                  <a:gd name="connsiteX26" fmla="*/ 0 w 587375"/>
                  <a:gd name="connsiteY26" fmla="*/ 968346 h 1108075"/>
                  <a:gd name="connsiteX27" fmla="*/ 15684 w 587375"/>
                  <a:gd name="connsiteY27" fmla="*/ 952500 h 1108075"/>
                  <a:gd name="connsiteX28" fmla="*/ 283992 w 587375"/>
                  <a:gd name="connsiteY28" fmla="*/ 782638 h 1108075"/>
                  <a:gd name="connsiteX29" fmla="*/ 571671 w 587375"/>
                  <a:gd name="connsiteY29" fmla="*/ 782638 h 1108075"/>
                  <a:gd name="connsiteX30" fmla="*/ 587375 w 587375"/>
                  <a:gd name="connsiteY30" fmla="*/ 797720 h 1108075"/>
                  <a:gd name="connsiteX31" fmla="*/ 571671 w 587375"/>
                  <a:gd name="connsiteY31" fmla="*/ 812801 h 1108075"/>
                  <a:gd name="connsiteX32" fmla="*/ 283992 w 587375"/>
                  <a:gd name="connsiteY32" fmla="*/ 812801 h 1108075"/>
                  <a:gd name="connsiteX33" fmla="*/ 268287 w 587375"/>
                  <a:gd name="connsiteY33" fmla="*/ 797720 h 1108075"/>
                  <a:gd name="connsiteX34" fmla="*/ 283992 w 587375"/>
                  <a:gd name="connsiteY34" fmla="*/ 782638 h 1108075"/>
                  <a:gd name="connsiteX35" fmla="*/ 283992 w 587375"/>
                  <a:gd name="connsiteY35" fmla="*/ 681038 h 1108075"/>
                  <a:gd name="connsiteX36" fmla="*/ 571671 w 587375"/>
                  <a:gd name="connsiteY36" fmla="*/ 681038 h 1108075"/>
                  <a:gd name="connsiteX37" fmla="*/ 587375 w 587375"/>
                  <a:gd name="connsiteY37" fmla="*/ 696913 h 1108075"/>
                  <a:gd name="connsiteX38" fmla="*/ 571671 w 587375"/>
                  <a:gd name="connsiteY38" fmla="*/ 712788 h 1108075"/>
                  <a:gd name="connsiteX39" fmla="*/ 283992 w 587375"/>
                  <a:gd name="connsiteY39" fmla="*/ 712788 h 1108075"/>
                  <a:gd name="connsiteX40" fmla="*/ 268287 w 587375"/>
                  <a:gd name="connsiteY40" fmla="*/ 696913 h 1108075"/>
                  <a:gd name="connsiteX41" fmla="*/ 283992 w 587375"/>
                  <a:gd name="connsiteY41" fmla="*/ 681038 h 1108075"/>
                  <a:gd name="connsiteX42" fmla="*/ 15684 w 587375"/>
                  <a:gd name="connsiteY42" fmla="*/ 673100 h 1108075"/>
                  <a:gd name="connsiteX43" fmla="*/ 108362 w 587375"/>
                  <a:gd name="connsiteY43" fmla="*/ 673100 h 1108075"/>
                  <a:gd name="connsiteX44" fmla="*/ 76994 w 587375"/>
                  <a:gd name="connsiteY44" fmla="*/ 704468 h 1108075"/>
                  <a:gd name="connsiteX45" fmla="*/ 31368 w 587375"/>
                  <a:gd name="connsiteY45" fmla="*/ 704468 h 1108075"/>
                  <a:gd name="connsiteX46" fmla="*/ 31368 w 587375"/>
                  <a:gd name="connsiteY46" fmla="*/ 795720 h 1108075"/>
                  <a:gd name="connsiteX47" fmla="*/ 122620 w 587375"/>
                  <a:gd name="connsiteY47" fmla="*/ 795720 h 1108075"/>
                  <a:gd name="connsiteX48" fmla="*/ 122620 w 587375"/>
                  <a:gd name="connsiteY48" fmla="*/ 791443 h 1108075"/>
                  <a:gd name="connsiteX49" fmla="*/ 153988 w 587375"/>
                  <a:gd name="connsiteY49" fmla="*/ 760075 h 1108075"/>
                  <a:gd name="connsiteX50" fmla="*/ 153988 w 587375"/>
                  <a:gd name="connsiteY50" fmla="*/ 811404 h 1108075"/>
                  <a:gd name="connsiteX51" fmla="*/ 138304 w 587375"/>
                  <a:gd name="connsiteY51" fmla="*/ 827088 h 1108075"/>
                  <a:gd name="connsiteX52" fmla="*/ 15684 w 587375"/>
                  <a:gd name="connsiteY52" fmla="*/ 827088 h 1108075"/>
                  <a:gd name="connsiteX53" fmla="*/ 0 w 587375"/>
                  <a:gd name="connsiteY53" fmla="*/ 811404 h 1108075"/>
                  <a:gd name="connsiteX54" fmla="*/ 0 w 587375"/>
                  <a:gd name="connsiteY54" fmla="*/ 688784 h 1108075"/>
                  <a:gd name="connsiteX55" fmla="*/ 15684 w 587375"/>
                  <a:gd name="connsiteY55" fmla="*/ 673100 h 1108075"/>
                  <a:gd name="connsiteX56" fmla="*/ 283992 w 587375"/>
                  <a:gd name="connsiteY56" fmla="*/ 498475 h 1108075"/>
                  <a:gd name="connsiteX57" fmla="*/ 571671 w 587375"/>
                  <a:gd name="connsiteY57" fmla="*/ 498475 h 1108075"/>
                  <a:gd name="connsiteX58" fmla="*/ 587375 w 587375"/>
                  <a:gd name="connsiteY58" fmla="*/ 514350 h 1108075"/>
                  <a:gd name="connsiteX59" fmla="*/ 571671 w 587375"/>
                  <a:gd name="connsiteY59" fmla="*/ 530225 h 1108075"/>
                  <a:gd name="connsiteX60" fmla="*/ 283992 w 587375"/>
                  <a:gd name="connsiteY60" fmla="*/ 530225 h 1108075"/>
                  <a:gd name="connsiteX61" fmla="*/ 268287 w 587375"/>
                  <a:gd name="connsiteY61" fmla="*/ 514350 h 1108075"/>
                  <a:gd name="connsiteX62" fmla="*/ 283992 w 587375"/>
                  <a:gd name="connsiteY62" fmla="*/ 498475 h 1108075"/>
                  <a:gd name="connsiteX63" fmla="*/ 283992 w 587375"/>
                  <a:gd name="connsiteY63" fmla="*/ 396875 h 1108075"/>
                  <a:gd name="connsiteX64" fmla="*/ 571671 w 587375"/>
                  <a:gd name="connsiteY64" fmla="*/ 396875 h 1108075"/>
                  <a:gd name="connsiteX65" fmla="*/ 587375 w 587375"/>
                  <a:gd name="connsiteY65" fmla="*/ 412750 h 1108075"/>
                  <a:gd name="connsiteX66" fmla="*/ 571671 w 587375"/>
                  <a:gd name="connsiteY66" fmla="*/ 428625 h 1108075"/>
                  <a:gd name="connsiteX67" fmla="*/ 283992 w 587375"/>
                  <a:gd name="connsiteY67" fmla="*/ 428625 h 1108075"/>
                  <a:gd name="connsiteX68" fmla="*/ 268287 w 587375"/>
                  <a:gd name="connsiteY68" fmla="*/ 412750 h 1108075"/>
                  <a:gd name="connsiteX69" fmla="*/ 283992 w 587375"/>
                  <a:gd name="connsiteY69" fmla="*/ 396875 h 1108075"/>
                  <a:gd name="connsiteX70" fmla="*/ 15684 w 587375"/>
                  <a:gd name="connsiteY70" fmla="*/ 387350 h 1108075"/>
                  <a:gd name="connsiteX71" fmla="*/ 108362 w 587375"/>
                  <a:gd name="connsiteY71" fmla="*/ 387350 h 1108075"/>
                  <a:gd name="connsiteX72" fmla="*/ 76994 w 587375"/>
                  <a:gd name="connsiteY72" fmla="*/ 418718 h 1108075"/>
                  <a:gd name="connsiteX73" fmla="*/ 31368 w 587375"/>
                  <a:gd name="connsiteY73" fmla="*/ 418718 h 1108075"/>
                  <a:gd name="connsiteX74" fmla="*/ 31368 w 587375"/>
                  <a:gd name="connsiteY74" fmla="*/ 509970 h 1108075"/>
                  <a:gd name="connsiteX75" fmla="*/ 122620 w 587375"/>
                  <a:gd name="connsiteY75" fmla="*/ 509970 h 1108075"/>
                  <a:gd name="connsiteX76" fmla="*/ 122620 w 587375"/>
                  <a:gd name="connsiteY76" fmla="*/ 505693 h 1108075"/>
                  <a:gd name="connsiteX77" fmla="*/ 153988 w 587375"/>
                  <a:gd name="connsiteY77" fmla="*/ 474325 h 1108075"/>
                  <a:gd name="connsiteX78" fmla="*/ 153988 w 587375"/>
                  <a:gd name="connsiteY78" fmla="*/ 525654 h 1108075"/>
                  <a:gd name="connsiteX79" fmla="*/ 138304 w 587375"/>
                  <a:gd name="connsiteY79" fmla="*/ 541338 h 1108075"/>
                  <a:gd name="connsiteX80" fmla="*/ 15684 w 587375"/>
                  <a:gd name="connsiteY80" fmla="*/ 541338 h 1108075"/>
                  <a:gd name="connsiteX81" fmla="*/ 0 w 587375"/>
                  <a:gd name="connsiteY81" fmla="*/ 525654 h 1108075"/>
                  <a:gd name="connsiteX82" fmla="*/ 0 w 587375"/>
                  <a:gd name="connsiteY82" fmla="*/ 403034 h 1108075"/>
                  <a:gd name="connsiteX83" fmla="*/ 15684 w 587375"/>
                  <a:gd name="connsiteY83" fmla="*/ 387350 h 1108075"/>
                  <a:gd name="connsiteX84" fmla="*/ 293687 w 587375"/>
                  <a:gd name="connsiteY84" fmla="*/ 31750 h 1108075"/>
                  <a:gd name="connsiteX85" fmla="*/ 236537 w 587375"/>
                  <a:gd name="connsiteY85" fmla="*/ 66675 h 1108075"/>
                  <a:gd name="connsiteX86" fmla="*/ 350837 w 587375"/>
                  <a:gd name="connsiteY86" fmla="*/ 66675 h 1108075"/>
                  <a:gd name="connsiteX87" fmla="*/ 293687 w 587375"/>
                  <a:gd name="connsiteY87" fmla="*/ 31750 h 1108075"/>
                  <a:gd name="connsiteX88" fmla="*/ 293688 w 587375"/>
                  <a:gd name="connsiteY88" fmla="*/ 0 h 1108075"/>
                  <a:gd name="connsiteX89" fmla="*/ 383990 w 587375"/>
                  <a:gd name="connsiteY89" fmla="*/ 67287 h 1108075"/>
                  <a:gd name="connsiteX90" fmla="*/ 434158 w 587375"/>
                  <a:gd name="connsiteY90" fmla="*/ 67287 h 1108075"/>
                  <a:gd name="connsiteX91" fmla="*/ 441325 w 587375"/>
                  <a:gd name="connsiteY91" fmla="*/ 74445 h 1108075"/>
                  <a:gd name="connsiteX92" fmla="*/ 441325 w 587375"/>
                  <a:gd name="connsiteY92" fmla="*/ 181102 h 1108075"/>
                  <a:gd name="connsiteX93" fmla="*/ 425558 w 587375"/>
                  <a:gd name="connsiteY93" fmla="*/ 196850 h 1108075"/>
                  <a:gd name="connsiteX94" fmla="*/ 161817 w 587375"/>
                  <a:gd name="connsiteY94" fmla="*/ 196850 h 1108075"/>
                  <a:gd name="connsiteX95" fmla="*/ 146050 w 587375"/>
                  <a:gd name="connsiteY95" fmla="*/ 181102 h 1108075"/>
                  <a:gd name="connsiteX96" fmla="*/ 146050 w 587375"/>
                  <a:gd name="connsiteY96" fmla="*/ 74445 h 1108075"/>
                  <a:gd name="connsiteX97" fmla="*/ 153217 w 587375"/>
                  <a:gd name="connsiteY97" fmla="*/ 67287 h 1108075"/>
                  <a:gd name="connsiteX98" fmla="*/ 203385 w 587375"/>
                  <a:gd name="connsiteY98" fmla="*/ 67287 h 1108075"/>
                  <a:gd name="connsiteX99" fmla="*/ 293688 w 587375"/>
                  <a:gd name="connsiteY99" fmla="*/ 0 h 1108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</a:cxnLst>
                <a:rect l="l" t="t" r="r" b="b"/>
                <a:pathLst>
                  <a:path w="587375" h="1108075">
                    <a:moveTo>
                      <a:pt x="283992" y="1065213"/>
                    </a:moveTo>
                    <a:cubicBezTo>
                      <a:pt x="571671" y="1065213"/>
                      <a:pt x="571671" y="1065213"/>
                      <a:pt x="571671" y="1065213"/>
                    </a:cubicBezTo>
                    <a:cubicBezTo>
                      <a:pt x="580237" y="1065213"/>
                      <a:pt x="587375" y="1072068"/>
                      <a:pt x="587375" y="1080295"/>
                    </a:cubicBezTo>
                    <a:cubicBezTo>
                      <a:pt x="587375" y="1088521"/>
                      <a:pt x="580237" y="1095376"/>
                      <a:pt x="571671" y="1095376"/>
                    </a:cubicBezTo>
                    <a:cubicBezTo>
                      <a:pt x="283992" y="1095376"/>
                      <a:pt x="283992" y="1095376"/>
                      <a:pt x="283992" y="1095376"/>
                    </a:cubicBezTo>
                    <a:cubicBezTo>
                      <a:pt x="275426" y="1095376"/>
                      <a:pt x="268287" y="1088521"/>
                      <a:pt x="268287" y="1080295"/>
                    </a:cubicBezTo>
                    <a:cubicBezTo>
                      <a:pt x="268287" y="1072068"/>
                      <a:pt x="275426" y="1065213"/>
                      <a:pt x="283992" y="1065213"/>
                    </a:cubicBezTo>
                    <a:close/>
                    <a:moveTo>
                      <a:pt x="283992" y="963613"/>
                    </a:moveTo>
                    <a:cubicBezTo>
                      <a:pt x="571671" y="963613"/>
                      <a:pt x="571671" y="963613"/>
                      <a:pt x="571671" y="963613"/>
                    </a:cubicBezTo>
                    <a:cubicBezTo>
                      <a:pt x="580237" y="963613"/>
                      <a:pt x="587375" y="970107"/>
                      <a:pt x="587375" y="979488"/>
                    </a:cubicBezTo>
                    <a:cubicBezTo>
                      <a:pt x="587375" y="988147"/>
                      <a:pt x="580237" y="995363"/>
                      <a:pt x="571671" y="995363"/>
                    </a:cubicBezTo>
                    <a:cubicBezTo>
                      <a:pt x="283992" y="995363"/>
                      <a:pt x="283992" y="995363"/>
                      <a:pt x="283992" y="995363"/>
                    </a:cubicBezTo>
                    <a:cubicBezTo>
                      <a:pt x="275426" y="995363"/>
                      <a:pt x="268287" y="988147"/>
                      <a:pt x="268287" y="979488"/>
                    </a:cubicBezTo>
                    <a:cubicBezTo>
                      <a:pt x="268287" y="970107"/>
                      <a:pt x="275426" y="963613"/>
                      <a:pt x="283992" y="963613"/>
                    </a:cubicBezTo>
                    <a:close/>
                    <a:moveTo>
                      <a:pt x="15684" y="952500"/>
                    </a:moveTo>
                    <a:cubicBezTo>
                      <a:pt x="15684" y="952500"/>
                      <a:pt x="15684" y="952500"/>
                      <a:pt x="108362" y="952500"/>
                    </a:cubicBezTo>
                    <a:cubicBezTo>
                      <a:pt x="108362" y="952500"/>
                      <a:pt x="108362" y="952500"/>
                      <a:pt x="76994" y="984191"/>
                    </a:cubicBezTo>
                    <a:cubicBezTo>
                      <a:pt x="76994" y="984191"/>
                      <a:pt x="76994" y="984191"/>
                      <a:pt x="31368" y="984191"/>
                    </a:cubicBezTo>
                    <a:cubicBezTo>
                      <a:pt x="31368" y="984191"/>
                      <a:pt x="31368" y="984191"/>
                      <a:pt x="31368" y="1076384"/>
                    </a:cubicBezTo>
                    <a:cubicBezTo>
                      <a:pt x="31368" y="1076384"/>
                      <a:pt x="31368" y="1076384"/>
                      <a:pt x="122620" y="1076384"/>
                    </a:cubicBezTo>
                    <a:cubicBezTo>
                      <a:pt x="122620" y="1076384"/>
                      <a:pt x="122620" y="1076384"/>
                      <a:pt x="122620" y="1072062"/>
                    </a:cubicBezTo>
                    <a:lnTo>
                      <a:pt x="153988" y="1040371"/>
                    </a:lnTo>
                    <a:cubicBezTo>
                      <a:pt x="153988" y="1040371"/>
                      <a:pt x="153988" y="1040371"/>
                      <a:pt x="153988" y="1092230"/>
                    </a:cubicBezTo>
                    <a:cubicBezTo>
                      <a:pt x="153988" y="1100873"/>
                      <a:pt x="146859" y="1108075"/>
                      <a:pt x="138304" y="1108075"/>
                    </a:cubicBezTo>
                    <a:cubicBezTo>
                      <a:pt x="138304" y="1108075"/>
                      <a:pt x="138304" y="1108075"/>
                      <a:pt x="15684" y="1108075"/>
                    </a:cubicBezTo>
                    <a:cubicBezTo>
                      <a:pt x="7129" y="1108075"/>
                      <a:pt x="0" y="1100873"/>
                      <a:pt x="0" y="1092230"/>
                    </a:cubicBezTo>
                    <a:cubicBezTo>
                      <a:pt x="0" y="1092230"/>
                      <a:pt x="0" y="1092230"/>
                      <a:pt x="0" y="968346"/>
                    </a:cubicBezTo>
                    <a:cubicBezTo>
                      <a:pt x="0" y="959703"/>
                      <a:pt x="7129" y="952500"/>
                      <a:pt x="15684" y="952500"/>
                    </a:cubicBezTo>
                    <a:close/>
                    <a:moveTo>
                      <a:pt x="283992" y="782638"/>
                    </a:moveTo>
                    <a:cubicBezTo>
                      <a:pt x="571671" y="782638"/>
                      <a:pt x="571671" y="782638"/>
                      <a:pt x="571671" y="782638"/>
                    </a:cubicBezTo>
                    <a:cubicBezTo>
                      <a:pt x="580237" y="782638"/>
                      <a:pt x="587375" y="788808"/>
                      <a:pt x="587375" y="797720"/>
                    </a:cubicBezTo>
                    <a:cubicBezTo>
                      <a:pt x="587375" y="805946"/>
                      <a:pt x="580237" y="812801"/>
                      <a:pt x="571671" y="812801"/>
                    </a:cubicBezTo>
                    <a:cubicBezTo>
                      <a:pt x="283992" y="812801"/>
                      <a:pt x="283992" y="812801"/>
                      <a:pt x="283992" y="812801"/>
                    </a:cubicBezTo>
                    <a:cubicBezTo>
                      <a:pt x="275426" y="812801"/>
                      <a:pt x="268287" y="805946"/>
                      <a:pt x="268287" y="797720"/>
                    </a:cubicBezTo>
                    <a:cubicBezTo>
                      <a:pt x="268287" y="788808"/>
                      <a:pt x="275426" y="782638"/>
                      <a:pt x="283992" y="782638"/>
                    </a:cubicBezTo>
                    <a:close/>
                    <a:moveTo>
                      <a:pt x="283992" y="681038"/>
                    </a:moveTo>
                    <a:cubicBezTo>
                      <a:pt x="571671" y="681038"/>
                      <a:pt x="571671" y="681038"/>
                      <a:pt x="571671" y="681038"/>
                    </a:cubicBezTo>
                    <a:cubicBezTo>
                      <a:pt x="580237" y="681038"/>
                      <a:pt x="587375" y="688254"/>
                      <a:pt x="587375" y="696913"/>
                    </a:cubicBezTo>
                    <a:cubicBezTo>
                      <a:pt x="587375" y="705572"/>
                      <a:pt x="580237" y="712788"/>
                      <a:pt x="571671" y="712788"/>
                    </a:cubicBezTo>
                    <a:cubicBezTo>
                      <a:pt x="283992" y="712788"/>
                      <a:pt x="283992" y="712788"/>
                      <a:pt x="283992" y="712788"/>
                    </a:cubicBezTo>
                    <a:cubicBezTo>
                      <a:pt x="275426" y="712788"/>
                      <a:pt x="268287" y="705572"/>
                      <a:pt x="268287" y="696913"/>
                    </a:cubicBezTo>
                    <a:cubicBezTo>
                      <a:pt x="268287" y="688254"/>
                      <a:pt x="275426" y="681038"/>
                      <a:pt x="283992" y="681038"/>
                    </a:cubicBezTo>
                    <a:close/>
                    <a:moveTo>
                      <a:pt x="15684" y="673100"/>
                    </a:moveTo>
                    <a:cubicBezTo>
                      <a:pt x="15684" y="673100"/>
                      <a:pt x="15684" y="673100"/>
                      <a:pt x="108362" y="673100"/>
                    </a:cubicBezTo>
                    <a:cubicBezTo>
                      <a:pt x="108362" y="673100"/>
                      <a:pt x="108362" y="673100"/>
                      <a:pt x="76994" y="704468"/>
                    </a:cubicBezTo>
                    <a:cubicBezTo>
                      <a:pt x="76994" y="704468"/>
                      <a:pt x="76994" y="704468"/>
                      <a:pt x="31368" y="704468"/>
                    </a:cubicBezTo>
                    <a:cubicBezTo>
                      <a:pt x="31368" y="704468"/>
                      <a:pt x="31368" y="704468"/>
                      <a:pt x="31368" y="795720"/>
                    </a:cubicBezTo>
                    <a:cubicBezTo>
                      <a:pt x="31368" y="795720"/>
                      <a:pt x="31368" y="795720"/>
                      <a:pt x="122620" y="795720"/>
                    </a:cubicBezTo>
                    <a:cubicBezTo>
                      <a:pt x="122620" y="795720"/>
                      <a:pt x="122620" y="795720"/>
                      <a:pt x="122620" y="791443"/>
                    </a:cubicBezTo>
                    <a:lnTo>
                      <a:pt x="153988" y="760075"/>
                    </a:lnTo>
                    <a:cubicBezTo>
                      <a:pt x="153988" y="760075"/>
                      <a:pt x="153988" y="760075"/>
                      <a:pt x="153988" y="811404"/>
                    </a:cubicBezTo>
                    <a:cubicBezTo>
                      <a:pt x="153988" y="819959"/>
                      <a:pt x="146859" y="827088"/>
                      <a:pt x="138304" y="827088"/>
                    </a:cubicBezTo>
                    <a:cubicBezTo>
                      <a:pt x="138304" y="827088"/>
                      <a:pt x="138304" y="827088"/>
                      <a:pt x="15684" y="827088"/>
                    </a:cubicBezTo>
                    <a:cubicBezTo>
                      <a:pt x="7129" y="827088"/>
                      <a:pt x="0" y="819959"/>
                      <a:pt x="0" y="811404"/>
                    </a:cubicBezTo>
                    <a:cubicBezTo>
                      <a:pt x="0" y="811404"/>
                      <a:pt x="0" y="811404"/>
                      <a:pt x="0" y="688784"/>
                    </a:cubicBezTo>
                    <a:cubicBezTo>
                      <a:pt x="0" y="680229"/>
                      <a:pt x="7129" y="673100"/>
                      <a:pt x="15684" y="673100"/>
                    </a:cubicBezTo>
                    <a:close/>
                    <a:moveTo>
                      <a:pt x="283992" y="498475"/>
                    </a:moveTo>
                    <a:cubicBezTo>
                      <a:pt x="571671" y="498475"/>
                      <a:pt x="571671" y="498475"/>
                      <a:pt x="571671" y="498475"/>
                    </a:cubicBezTo>
                    <a:cubicBezTo>
                      <a:pt x="580237" y="498475"/>
                      <a:pt x="587375" y="505691"/>
                      <a:pt x="587375" y="514350"/>
                    </a:cubicBezTo>
                    <a:cubicBezTo>
                      <a:pt x="587375" y="523009"/>
                      <a:pt x="580237" y="530225"/>
                      <a:pt x="571671" y="530225"/>
                    </a:cubicBezTo>
                    <a:cubicBezTo>
                      <a:pt x="283992" y="530225"/>
                      <a:pt x="283992" y="530225"/>
                      <a:pt x="283992" y="530225"/>
                    </a:cubicBezTo>
                    <a:cubicBezTo>
                      <a:pt x="275426" y="530225"/>
                      <a:pt x="268287" y="523009"/>
                      <a:pt x="268287" y="514350"/>
                    </a:cubicBezTo>
                    <a:cubicBezTo>
                      <a:pt x="268287" y="505691"/>
                      <a:pt x="275426" y="498475"/>
                      <a:pt x="283992" y="498475"/>
                    </a:cubicBezTo>
                    <a:close/>
                    <a:moveTo>
                      <a:pt x="283992" y="396875"/>
                    </a:moveTo>
                    <a:cubicBezTo>
                      <a:pt x="571671" y="396875"/>
                      <a:pt x="571671" y="396875"/>
                      <a:pt x="571671" y="396875"/>
                    </a:cubicBezTo>
                    <a:cubicBezTo>
                      <a:pt x="580237" y="396875"/>
                      <a:pt x="587375" y="404091"/>
                      <a:pt x="587375" y="412750"/>
                    </a:cubicBezTo>
                    <a:cubicBezTo>
                      <a:pt x="587375" y="422131"/>
                      <a:pt x="580237" y="428625"/>
                      <a:pt x="571671" y="428625"/>
                    </a:cubicBezTo>
                    <a:cubicBezTo>
                      <a:pt x="283992" y="428625"/>
                      <a:pt x="283992" y="428625"/>
                      <a:pt x="283992" y="428625"/>
                    </a:cubicBezTo>
                    <a:cubicBezTo>
                      <a:pt x="275426" y="428625"/>
                      <a:pt x="268287" y="422131"/>
                      <a:pt x="268287" y="412750"/>
                    </a:cubicBezTo>
                    <a:cubicBezTo>
                      <a:pt x="268287" y="404091"/>
                      <a:pt x="275426" y="396875"/>
                      <a:pt x="283992" y="396875"/>
                    </a:cubicBezTo>
                    <a:close/>
                    <a:moveTo>
                      <a:pt x="15684" y="387350"/>
                    </a:moveTo>
                    <a:cubicBezTo>
                      <a:pt x="15684" y="387350"/>
                      <a:pt x="15684" y="387350"/>
                      <a:pt x="108362" y="387350"/>
                    </a:cubicBezTo>
                    <a:cubicBezTo>
                      <a:pt x="108362" y="387350"/>
                      <a:pt x="108362" y="387350"/>
                      <a:pt x="76994" y="418718"/>
                    </a:cubicBezTo>
                    <a:cubicBezTo>
                      <a:pt x="76994" y="418718"/>
                      <a:pt x="76994" y="418718"/>
                      <a:pt x="31368" y="418718"/>
                    </a:cubicBezTo>
                    <a:cubicBezTo>
                      <a:pt x="31368" y="418718"/>
                      <a:pt x="31368" y="418718"/>
                      <a:pt x="31368" y="509970"/>
                    </a:cubicBezTo>
                    <a:cubicBezTo>
                      <a:pt x="31368" y="509970"/>
                      <a:pt x="31368" y="509970"/>
                      <a:pt x="122620" y="509970"/>
                    </a:cubicBezTo>
                    <a:cubicBezTo>
                      <a:pt x="122620" y="509970"/>
                      <a:pt x="122620" y="509970"/>
                      <a:pt x="122620" y="505693"/>
                    </a:cubicBezTo>
                    <a:lnTo>
                      <a:pt x="153988" y="474325"/>
                    </a:lnTo>
                    <a:cubicBezTo>
                      <a:pt x="153988" y="474325"/>
                      <a:pt x="153988" y="474325"/>
                      <a:pt x="153988" y="525654"/>
                    </a:cubicBezTo>
                    <a:cubicBezTo>
                      <a:pt x="153988" y="534209"/>
                      <a:pt x="146859" y="541338"/>
                      <a:pt x="138304" y="541338"/>
                    </a:cubicBezTo>
                    <a:cubicBezTo>
                      <a:pt x="138304" y="541338"/>
                      <a:pt x="138304" y="541338"/>
                      <a:pt x="15684" y="541338"/>
                    </a:cubicBezTo>
                    <a:cubicBezTo>
                      <a:pt x="7129" y="541338"/>
                      <a:pt x="0" y="534209"/>
                      <a:pt x="0" y="525654"/>
                    </a:cubicBezTo>
                    <a:cubicBezTo>
                      <a:pt x="0" y="525654"/>
                      <a:pt x="0" y="525654"/>
                      <a:pt x="0" y="403034"/>
                    </a:cubicBezTo>
                    <a:cubicBezTo>
                      <a:pt x="0" y="394479"/>
                      <a:pt x="7129" y="387350"/>
                      <a:pt x="15684" y="387350"/>
                    </a:cubicBezTo>
                    <a:close/>
                    <a:moveTo>
                      <a:pt x="293687" y="31750"/>
                    </a:moveTo>
                    <a:cubicBezTo>
                      <a:pt x="268368" y="31750"/>
                      <a:pt x="246665" y="45720"/>
                      <a:pt x="236537" y="66675"/>
                    </a:cubicBezTo>
                    <a:cubicBezTo>
                      <a:pt x="236537" y="66675"/>
                      <a:pt x="236537" y="66675"/>
                      <a:pt x="350837" y="66675"/>
                    </a:cubicBezTo>
                    <a:cubicBezTo>
                      <a:pt x="340709" y="45720"/>
                      <a:pt x="319007" y="31750"/>
                      <a:pt x="293687" y="31750"/>
                    </a:cubicBezTo>
                    <a:close/>
                    <a:moveTo>
                      <a:pt x="293688" y="0"/>
                    </a:moveTo>
                    <a:cubicBezTo>
                      <a:pt x="335972" y="0"/>
                      <a:pt x="372523" y="27917"/>
                      <a:pt x="383990" y="67287"/>
                    </a:cubicBezTo>
                    <a:cubicBezTo>
                      <a:pt x="383990" y="67287"/>
                      <a:pt x="383990" y="67287"/>
                      <a:pt x="434158" y="67287"/>
                    </a:cubicBezTo>
                    <a:cubicBezTo>
                      <a:pt x="438458" y="67287"/>
                      <a:pt x="441325" y="70150"/>
                      <a:pt x="441325" y="74445"/>
                    </a:cubicBezTo>
                    <a:cubicBezTo>
                      <a:pt x="441325" y="74445"/>
                      <a:pt x="441325" y="74445"/>
                      <a:pt x="441325" y="181102"/>
                    </a:cubicBezTo>
                    <a:cubicBezTo>
                      <a:pt x="441325" y="189692"/>
                      <a:pt x="434158" y="196850"/>
                      <a:pt x="425558" y="196850"/>
                    </a:cubicBezTo>
                    <a:cubicBezTo>
                      <a:pt x="425558" y="196850"/>
                      <a:pt x="425558" y="196850"/>
                      <a:pt x="161817" y="196850"/>
                    </a:cubicBezTo>
                    <a:cubicBezTo>
                      <a:pt x="153217" y="196850"/>
                      <a:pt x="146050" y="189692"/>
                      <a:pt x="146050" y="181102"/>
                    </a:cubicBezTo>
                    <a:cubicBezTo>
                      <a:pt x="146050" y="181102"/>
                      <a:pt x="146050" y="181102"/>
                      <a:pt x="146050" y="74445"/>
                    </a:cubicBezTo>
                    <a:cubicBezTo>
                      <a:pt x="146050" y="70150"/>
                      <a:pt x="148917" y="67287"/>
                      <a:pt x="153217" y="67287"/>
                    </a:cubicBezTo>
                    <a:cubicBezTo>
                      <a:pt x="153217" y="67287"/>
                      <a:pt x="153217" y="67287"/>
                      <a:pt x="203385" y="67287"/>
                    </a:cubicBezTo>
                    <a:cubicBezTo>
                      <a:pt x="214852" y="27917"/>
                      <a:pt x="251403" y="0"/>
                      <a:pt x="293688" y="0"/>
                    </a:cubicBezTo>
                    <a:close/>
                  </a:path>
                </a:pathLst>
              </a:custGeom>
              <a:solidFill>
                <a:srgbClr val="5D78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4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131" name="bcgIcons_Handshake">
            <a:extLst>
              <a:ext uri="{FF2B5EF4-FFF2-40B4-BE49-F238E27FC236}">
                <a16:creationId xmlns:a16="http://schemas.microsoft.com/office/drawing/2014/main" id="{D893BADC-A732-41E8-8249-D660E2FAAB7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234499" y="3188474"/>
            <a:ext cx="1060419" cy="1061402"/>
            <a:chOff x="1682" y="0"/>
            <a:chExt cx="4316" cy="4320"/>
          </a:xfrm>
        </p:grpSpPr>
        <p:sp>
          <p:nvSpPr>
            <p:cNvPr id="132" name="AutoShape 3">
              <a:extLst>
                <a:ext uri="{FF2B5EF4-FFF2-40B4-BE49-F238E27FC236}">
                  <a16:creationId xmlns:a16="http://schemas.microsoft.com/office/drawing/2014/main" id="{FDA3489F-1C07-4F67-9645-357FDA317B2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3" name="Freeform 5">
              <a:extLst>
                <a:ext uri="{FF2B5EF4-FFF2-40B4-BE49-F238E27FC236}">
                  <a16:creationId xmlns:a16="http://schemas.microsoft.com/office/drawing/2014/main" id="{635C37A3-4872-4D68-B937-AF24048567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99" y="763"/>
              <a:ext cx="2730" cy="2428"/>
            </a:xfrm>
            <a:custGeom>
              <a:avLst/>
              <a:gdLst>
                <a:gd name="T0" fmla="*/ 182 w 1457"/>
                <a:gd name="T1" fmla="*/ 441 h 1295"/>
                <a:gd name="T2" fmla="*/ 163 w 1457"/>
                <a:gd name="T3" fmla="*/ 326 h 1295"/>
                <a:gd name="T4" fmla="*/ 724 w 1457"/>
                <a:gd name="T5" fmla="*/ 120 h 1295"/>
                <a:gd name="T6" fmla="*/ 1145 w 1457"/>
                <a:gd name="T7" fmla="*/ 295 h 1295"/>
                <a:gd name="T8" fmla="*/ 1419 w 1457"/>
                <a:gd name="T9" fmla="*/ 153 h 1295"/>
                <a:gd name="T10" fmla="*/ 1457 w 1457"/>
                <a:gd name="T11" fmla="*/ 172 h 1295"/>
                <a:gd name="T12" fmla="*/ 1457 w 1457"/>
                <a:gd name="T13" fmla="*/ 660 h 1295"/>
                <a:gd name="T14" fmla="*/ 1449 w 1457"/>
                <a:gd name="T15" fmla="*/ 672 h 1295"/>
                <a:gd name="T16" fmla="*/ 1275 w 1457"/>
                <a:gd name="T17" fmla="*/ 716 h 1295"/>
                <a:gd name="T18" fmla="*/ 1263 w 1457"/>
                <a:gd name="T19" fmla="*/ 715 h 1295"/>
                <a:gd name="T20" fmla="*/ 668 w 1457"/>
                <a:gd name="T21" fmla="*/ 358 h 1295"/>
                <a:gd name="T22" fmla="*/ 462 w 1457"/>
                <a:gd name="T23" fmla="*/ 341 h 1295"/>
                <a:gd name="T24" fmla="*/ 421 w 1457"/>
                <a:gd name="T25" fmla="*/ 361 h 1295"/>
                <a:gd name="T26" fmla="*/ 182 w 1457"/>
                <a:gd name="T27" fmla="*/ 441 h 1295"/>
                <a:gd name="T28" fmla="*/ 592 w 1457"/>
                <a:gd name="T29" fmla="*/ 1039 h 1295"/>
                <a:gd name="T30" fmla="*/ 528 w 1457"/>
                <a:gd name="T31" fmla="*/ 1079 h 1295"/>
                <a:gd name="T32" fmla="*/ 472 w 1457"/>
                <a:gd name="T33" fmla="*/ 1191 h 1295"/>
                <a:gd name="T34" fmla="*/ 505 w 1457"/>
                <a:gd name="T35" fmla="*/ 1287 h 1295"/>
                <a:gd name="T36" fmla="*/ 505 w 1457"/>
                <a:gd name="T37" fmla="*/ 1287 h 1295"/>
                <a:gd name="T38" fmla="*/ 536 w 1457"/>
                <a:gd name="T39" fmla="*/ 1295 h 1295"/>
                <a:gd name="T40" fmla="*/ 601 w 1457"/>
                <a:gd name="T41" fmla="*/ 1255 h 1295"/>
                <a:gd name="T42" fmla="*/ 657 w 1457"/>
                <a:gd name="T43" fmla="*/ 1143 h 1295"/>
                <a:gd name="T44" fmla="*/ 624 w 1457"/>
                <a:gd name="T45" fmla="*/ 1046 h 1295"/>
                <a:gd name="T46" fmla="*/ 592 w 1457"/>
                <a:gd name="T47" fmla="*/ 1039 h 1295"/>
                <a:gd name="T48" fmla="*/ 462 w 1457"/>
                <a:gd name="T49" fmla="*/ 901 h 1295"/>
                <a:gd name="T50" fmla="*/ 397 w 1457"/>
                <a:gd name="T51" fmla="*/ 941 h 1295"/>
                <a:gd name="T52" fmla="*/ 307 w 1457"/>
                <a:gd name="T53" fmla="*/ 1123 h 1295"/>
                <a:gd name="T54" fmla="*/ 339 w 1457"/>
                <a:gd name="T55" fmla="*/ 1219 h 1295"/>
                <a:gd name="T56" fmla="*/ 339 w 1457"/>
                <a:gd name="T57" fmla="*/ 1219 h 1295"/>
                <a:gd name="T58" fmla="*/ 371 w 1457"/>
                <a:gd name="T59" fmla="*/ 1227 h 1295"/>
                <a:gd name="T60" fmla="*/ 435 w 1457"/>
                <a:gd name="T61" fmla="*/ 1187 h 1295"/>
                <a:gd name="T62" fmla="*/ 526 w 1457"/>
                <a:gd name="T63" fmla="*/ 1005 h 1295"/>
                <a:gd name="T64" fmla="*/ 493 w 1457"/>
                <a:gd name="T65" fmla="*/ 909 h 1295"/>
                <a:gd name="T66" fmla="*/ 493 w 1457"/>
                <a:gd name="T67" fmla="*/ 909 h 1295"/>
                <a:gd name="T68" fmla="*/ 462 w 1457"/>
                <a:gd name="T69" fmla="*/ 901 h 1295"/>
                <a:gd name="T70" fmla="*/ 298 w 1457"/>
                <a:gd name="T71" fmla="*/ 829 h 1295"/>
                <a:gd name="T72" fmla="*/ 233 w 1457"/>
                <a:gd name="T73" fmla="*/ 869 h 1295"/>
                <a:gd name="T74" fmla="*/ 150 w 1457"/>
                <a:gd name="T75" fmla="*/ 1036 h 1295"/>
                <a:gd name="T76" fmla="*/ 183 w 1457"/>
                <a:gd name="T77" fmla="*/ 1132 h 1295"/>
                <a:gd name="T78" fmla="*/ 215 w 1457"/>
                <a:gd name="T79" fmla="*/ 1140 h 1295"/>
                <a:gd name="T80" fmla="*/ 279 w 1457"/>
                <a:gd name="T81" fmla="*/ 1100 h 1295"/>
                <a:gd name="T82" fmla="*/ 362 w 1457"/>
                <a:gd name="T83" fmla="*/ 933 h 1295"/>
                <a:gd name="T84" fmla="*/ 330 w 1457"/>
                <a:gd name="T85" fmla="*/ 837 h 1295"/>
                <a:gd name="T86" fmla="*/ 330 w 1457"/>
                <a:gd name="T87" fmla="*/ 837 h 1295"/>
                <a:gd name="T88" fmla="*/ 298 w 1457"/>
                <a:gd name="T89" fmla="*/ 829 h 1295"/>
                <a:gd name="T90" fmla="*/ 131 w 1457"/>
                <a:gd name="T91" fmla="*/ 762 h 1295"/>
                <a:gd name="T92" fmla="*/ 66 w 1457"/>
                <a:gd name="T93" fmla="*/ 802 h 1295"/>
                <a:gd name="T94" fmla="*/ 18 w 1457"/>
                <a:gd name="T95" fmla="*/ 900 h 1295"/>
                <a:gd name="T96" fmla="*/ 50 w 1457"/>
                <a:gd name="T97" fmla="*/ 996 h 1295"/>
                <a:gd name="T98" fmla="*/ 82 w 1457"/>
                <a:gd name="T99" fmla="*/ 1004 h 1295"/>
                <a:gd name="T100" fmla="*/ 146 w 1457"/>
                <a:gd name="T101" fmla="*/ 964 h 1295"/>
                <a:gd name="T102" fmla="*/ 195 w 1457"/>
                <a:gd name="T103" fmla="*/ 866 h 1295"/>
                <a:gd name="T104" fmla="*/ 162 w 1457"/>
                <a:gd name="T105" fmla="*/ 770 h 1295"/>
                <a:gd name="T106" fmla="*/ 131 w 1457"/>
                <a:gd name="T107" fmla="*/ 762 h 1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457" h="1295">
                  <a:moveTo>
                    <a:pt x="182" y="441"/>
                  </a:moveTo>
                  <a:cubicBezTo>
                    <a:pt x="138" y="419"/>
                    <a:pt x="128" y="361"/>
                    <a:pt x="163" y="326"/>
                  </a:cubicBezTo>
                  <a:cubicBezTo>
                    <a:pt x="484" y="0"/>
                    <a:pt x="654" y="98"/>
                    <a:pt x="724" y="120"/>
                  </a:cubicBezTo>
                  <a:cubicBezTo>
                    <a:pt x="823" y="149"/>
                    <a:pt x="1071" y="278"/>
                    <a:pt x="1145" y="295"/>
                  </a:cubicBezTo>
                  <a:cubicBezTo>
                    <a:pt x="1199" y="308"/>
                    <a:pt x="1348" y="206"/>
                    <a:pt x="1419" y="153"/>
                  </a:cubicBezTo>
                  <a:cubicBezTo>
                    <a:pt x="1435" y="142"/>
                    <a:pt x="1457" y="153"/>
                    <a:pt x="1457" y="172"/>
                  </a:cubicBezTo>
                  <a:cubicBezTo>
                    <a:pt x="1457" y="172"/>
                    <a:pt x="1457" y="172"/>
                    <a:pt x="1457" y="660"/>
                  </a:cubicBezTo>
                  <a:cubicBezTo>
                    <a:pt x="1457" y="666"/>
                    <a:pt x="1454" y="670"/>
                    <a:pt x="1449" y="672"/>
                  </a:cubicBezTo>
                  <a:cubicBezTo>
                    <a:pt x="1449" y="672"/>
                    <a:pt x="1449" y="672"/>
                    <a:pt x="1275" y="716"/>
                  </a:cubicBezTo>
                  <a:cubicBezTo>
                    <a:pt x="1271" y="718"/>
                    <a:pt x="1266" y="717"/>
                    <a:pt x="1263" y="715"/>
                  </a:cubicBezTo>
                  <a:cubicBezTo>
                    <a:pt x="1207" y="679"/>
                    <a:pt x="737" y="382"/>
                    <a:pt x="668" y="358"/>
                  </a:cubicBezTo>
                  <a:cubicBezTo>
                    <a:pt x="614" y="338"/>
                    <a:pt x="510" y="340"/>
                    <a:pt x="462" y="341"/>
                  </a:cubicBezTo>
                  <a:cubicBezTo>
                    <a:pt x="446" y="342"/>
                    <a:pt x="431" y="349"/>
                    <a:pt x="421" y="361"/>
                  </a:cubicBezTo>
                  <a:cubicBezTo>
                    <a:pt x="320" y="472"/>
                    <a:pt x="237" y="468"/>
                    <a:pt x="182" y="441"/>
                  </a:cubicBezTo>
                  <a:close/>
                  <a:moveTo>
                    <a:pt x="592" y="1039"/>
                  </a:moveTo>
                  <a:cubicBezTo>
                    <a:pt x="566" y="1039"/>
                    <a:pt x="541" y="1054"/>
                    <a:pt x="528" y="1079"/>
                  </a:cubicBezTo>
                  <a:cubicBezTo>
                    <a:pt x="472" y="1191"/>
                    <a:pt x="472" y="1191"/>
                    <a:pt x="472" y="1191"/>
                  </a:cubicBezTo>
                  <a:cubicBezTo>
                    <a:pt x="455" y="1227"/>
                    <a:pt x="469" y="1270"/>
                    <a:pt x="505" y="1287"/>
                  </a:cubicBezTo>
                  <a:cubicBezTo>
                    <a:pt x="505" y="1287"/>
                    <a:pt x="505" y="1287"/>
                    <a:pt x="505" y="1287"/>
                  </a:cubicBezTo>
                  <a:cubicBezTo>
                    <a:pt x="515" y="1292"/>
                    <a:pt x="526" y="1295"/>
                    <a:pt x="536" y="1295"/>
                  </a:cubicBezTo>
                  <a:cubicBezTo>
                    <a:pt x="563" y="1295"/>
                    <a:pt x="588" y="1280"/>
                    <a:pt x="601" y="1255"/>
                  </a:cubicBezTo>
                  <a:cubicBezTo>
                    <a:pt x="657" y="1143"/>
                    <a:pt x="657" y="1143"/>
                    <a:pt x="657" y="1143"/>
                  </a:cubicBezTo>
                  <a:cubicBezTo>
                    <a:pt x="674" y="1107"/>
                    <a:pt x="660" y="1064"/>
                    <a:pt x="624" y="1046"/>
                  </a:cubicBezTo>
                  <a:cubicBezTo>
                    <a:pt x="614" y="1041"/>
                    <a:pt x="603" y="1039"/>
                    <a:pt x="592" y="1039"/>
                  </a:cubicBezTo>
                  <a:moveTo>
                    <a:pt x="462" y="901"/>
                  </a:moveTo>
                  <a:cubicBezTo>
                    <a:pt x="435" y="901"/>
                    <a:pt x="410" y="916"/>
                    <a:pt x="397" y="941"/>
                  </a:cubicBezTo>
                  <a:cubicBezTo>
                    <a:pt x="307" y="1123"/>
                    <a:pt x="307" y="1123"/>
                    <a:pt x="307" y="1123"/>
                  </a:cubicBezTo>
                  <a:cubicBezTo>
                    <a:pt x="289" y="1159"/>
                    <a:pt x="304" y="1202"/>
                    <a:pt x="339" y="1219"/>
                  </a:cubicBezTo>
                  <a:cubicBezTo>
                    <a:pt x="339" y="1219"/>
                    <a:pt x="339" y="1219"/>
                    <a:pt x="339" y="1219"/>
                  </a:cubicBezTo>
                  <a:cubicBezTo>
                    <a:pt x="350" y="1224"/>
                    <a:pt x="360" y="1227"/>
                    <a:pt x="371" y="1227"/>
                  </a:cubicBezTo>
                  <a:cubicBezTo>
                    <a:pt x="397" y="1227"/>
                    <a:pt x="423" y="1212"/>
                    <a:pt x="435" y="1187"/>
                  </a:cubicBezTo>
                  <a:cubicBezTo>
                    <a:pt x="526" y="1005"/>
                    <a:pt x="526" y="1005"/>
                    <a:pt x="526" y="1005"/>
                  </a:cubicBezTo>
                  <a:cubicBezTo>
                    <a:pt x="543" y="970"/>
                    <a:pt x="529" y="927"/>
                    <a:pt x="493" y="909"/>
                  </a:cubicBezTo>
                  <a:cubicBezTo>
                    <a:pt x="493" y="909"/>
                    <a:pt x="493" y="909"/>
                    <a:pt x="493" y="909"/>
                  </a:cubicBezTo>
                  <a:cubicBezTo>
                    <a:pt x="483" y="904"/>
                    <a:pt x="472" y="901"/>
                    <a:pt x="462" y="901"/>
                  </a:cubicBezTo>
                  <a:moveTo>
                    <a:pt x="298" y="829"/>
                  </a:moveTo>
                  <a:cubicBezTo>
                    <a:pt x="271" y="829"/>
                    <a:pt x="246" y="844"/>
                    <a:pt x="233" y="869"/>
                  </a:cubicBezTo>
                  <a:cubicBezTo>
                    <a:pt x="150" y="1036"/>
                    <a:pt x="150" y="1036"/>
                    <a:pt x="150" y="1036"/>
                  </a:cubicBezTo>
                  <a:cubicBezTo>
                    <a:pt x="133" y="1072"/>
                    <a:pt x="147" y="1115"/>
                    <a:pt x="183" y="1132"/>
                  </a:cubicBezTo>
                  <a:cubicBezTo>
                    <a:pt x="193" y="1138"/>
                    <a:pt x="204" y="1140"/>
                    <a:pt x="215" y="1140"/>
                  </a:cubicBezTo>
                  <a:cubicBezTo>
                    <a:pt x="241" y="1140"/>
                    <a:pt x="266" y="1125"/>
                    <a:pt x="279" y="1100"/>
                  </a:cubicBezTo>
                  <a:cubicBezTo>
                    <a:pt x="362" y="933"/>
                    <a:pt x="362" y="933"/>
                    <a:pt x="362" y="933"/>
                  </a:cubicBezTo>
                  <a:cubicBezTo>
                    <a:pt x="379" y="898"/>
                    <a:pt x="365" y="855"/>
                    <a:pt x="330" y="837"/>
                  </a:cubicBezTo>
                  <a:cubicBezTo>
                    <a:pt x="330" y="837"/>
                    <a:pt x="330" y="837"/>
                    <a:pt x="330" y="837"/>
                  </a:cubicBezTo>
                  <a:cubicBezTo>
                    <a:pt x="319" y="832"/>
                    <a:pt x="308" y="829"/>
                    <a:pt x="298" y="829"/>
                  </a:cubicBezTo>
                  <a:moveTo>
                    <a:pt x="131" y="762"/>
                  </a:moveTo>
                  <a:cubicBezTo>
                    <a:pt x="104" y="762"/>
                    <a:pt x="79" y="777"/>
                    <a:pt x="66" y="802"/>
                  </a:cubicBezTo>
                  <a:cubicBezTo>
                    <a:pt x="18" y="900"/>
                    <a:pt x="18" y="900"/>
                    <a:pt x="18" y="900"/>
                  </a:cubicBezTo>
                  <a:cubicBezTo>
                    <a:pt x="0" y="936"/>
                    <a:pt x="14" y="979"/>
                    <a:pt x="50" y="996"/>
                  </a:cubicBezTo>
                  <a:cubicBezTo>
                    <a:pt x="60" y="1002"/>
                    <a:pt x="71" y="1004"/>
                    <a:pt x="82" y="1004"/>
                  </a:cubicBezTo>
                  <a:cubicBezTo>
                    <a:pt x="108" y="1004"/>
                    <a:pt x="133" y="989"/>
                    <a:pt x="146" y="964"/>
                  </a:cubicBezTo>
                  <a:cubicBezTo>
                    <a:pt x="195" y="866"/>
                    <a:pt x="195" y="866"/>
                    <a:pt x="195" y="866"/>
                  </a:cubicBezTo>
                  <a:cubicBezTo>
                    <a:pt x="212" y="830"/>
                    <a:pt x="198" y="787"/>
                    <a:pt x="162" y="770"/>
                  </a:cubicBezTo>
                  <a:cubicBezTo>
                    <a:pt x="152" y="765"/>
                    <a:pt x="141" y="762"/>
                    <a:pt x="131" y="762"/>
                  </a:cubicBezTo>
                </a:path>
              </a:pathLst>
            </a:custGeom>
            <a:solidFill>
              <a:srgbClr val="5D78D1">
                <a:lumMod val="10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4" name="Freeform 6">
              <a:extLst>
                <a:ext uri="{FF2B5EF4-FFF2-40B4-BE49-F238E27FC236}">
                  <a16:creationId xmlns:a16="http://schemas.microsoft.com/office/drawing/2014/main" id="{23479137-BE96-4407-88BC-DAA4B923DF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51" y="921"/>
              <a:ext cx="3007" cy="2422"/>
            </a:xfrm>
            <a:custGeom>
              <a:avLst/>
              <a:gdLst>
                <a:gd name="T0" fmla="*/ 262 w 1605"/>
                <a:gd name="T1" fmla="*/ 725 h 1292"/>
                <a:gd name="T2" fmla="*/ 15 w 1605"/>
                <a:gd name="T3" fmla="*/ 587 h 1292"/>
                <a:gd name="T4" fmla="*/ 0 w 1605"/>
                <a:gd name="T5" fmla="*/ 37 h 1292"/>
                <a:gd name="T6" fmla="*/ 36 w 1605"/>
                <a:gd name="T7" fmla="*/ 0 h 1292"/>
                <a:gd name="T8" fmla="*/ 155 w 1605"/>
                <a:gd name="T9" fmla="*/ 96 h 1292"/>
                <a:gd name="T10" fmla="*/ 324 w 1605"/>
                <a:gd name="T11" fmla="*/ 190 h 1292"/>
                <a:gd name="T12" fmla="*/ 364 w 1605"/>
                <a:gd name="T13" fmla="*/ 178 h 1292"/>
                <a:gd name="T14" fmla="*/ 366 w 1605"/>
                <a:gd name="T15" fmla="*/ 207 h 1292"/>
                <a:gd name="T16" fmla="*/ 324 w 1605"/>
                <a:gd name="T17" fmla="*/ 226 h 1292"/>
                <a:gd name="T18" fmla="*/ 36 w 1605"/>
                <a:gd name="T19" fmla="*/ 36 h 1292"/>
                <a:gd name="T20" fmla="*/ 1538 w 1605"/>
                <a:gd name="T21" fmla="*/ 719 h 1292"/>
                <a:gd name="T22" fmla="*/ 785 w 1605"/>
                <a:gd name="T23" fmla="*/ 307 h 1292"/>
                <a:gd name="T24" fmla="*/ 1544 w 1605"/>
                <a:gd name="T25" fmla="*/ 848 h 1292"/>
                <a:gd name="T26" fmla="*/ 1482 w 1605"/>
                <a:gd name="T27" fmla="*/ 883 h 1292"/>
                <a:gd name="T28" fmla="*/ 1236 w 1605"/>
                <a:gd name="T29" fmla="*/ 747 h 1292"/>
                <a:gd name="T30" fmla="*/ 1210 w 1605"/>
                <a:gd name="T31" fmla="*/ 752 h 1292"/>
                <a:gd name="T32" fmla="*/ 1380 w 1605"/>
                <a:gd name="T33" fmla="*/ 881 h 1292"/>
                <a:gd name="T34" fmla="*/ 1345 w 1605"/>
                <a:gd name="T35" fmla="*/ 1015 h 1292"/>
                <a:gd name="T36" fmla="*/ 1123 w 1605"/>
                <a:gd name="T37" fmla="*/ 893 h 1292"/>
                <a:gd name="T38" fmla="*/ 1098 w 1605"/>
                <a:gd name="T39" fmla="*/ 898 h 1292"/>
                <a:gd name="T40" fmla="*/ 1229 w 1605"/>
                <a:gd name="T41" fmla="*/ 1002 h 1292"/>
                <a:gd name="T42" fmla="*/ 1253 w 1605"/>
                <a:gd name="T43" fmla="*/ 1100 h 1292"/>
                <a:gd name="T44" fmla="*/ 1155 w 1605"/>
                <a:gd name="T45" fmla="*/ 1124 h 1292"/>
                <a:gd name="T46" fmla="*/ 986 w 1605"/>
                <a:gd name="T47" fmla="*/ 1044 h 1292"/>
                <a:gd name="T48" fmla="*/ 992 w 1605"/>
                <a:gd name="T49" fmla="*/ 1075 h 1292"/>
                <a:gd name="T50" fmla="*/ 1097 w 1605"/>
                <a:gd name="T51" fmla="*/ 1222 h 1292"/>
                <a:gd name="T52" fmla="*/ 998 w 1605"/>
                <a:gd name="T53" fmla="*/ 1246 h 1292"/>
                <a:gd name="T54" fmla="*/ 862 w 1605"/>
                <a:gd name="T55" fmla="*/ 1206 h 1292"/>
                <a:gd name="T56" fmla="*/ 1035 w 1605"/>
                <a:gd name="T57" fmla="*/ 1292 h 1292"/>
                <a:gd name="T58" fmla="*/ 1139 w 1605"/>
                <a:gd name="T59" fmla="*/ 1157 h 1292"/>
                <a:gd name="T60" fmla="*/ 1284 w 1605"/>
                <a:gd name="T61" fmla="*/ 1119 h 1292"/>
                <a:gd name="T62" fmla="*/ 1345 w 1605"/>
                <a:gd name="T63" fmla="*/ 1051 h 1292"/>
                <a:gd name="T64" fmla="*/ 1450 w 1605"/>
                <a:gd name="T65" fmla="*/ 917 h 1292"/>
                <a:gd name="T66" fmla="*/ 1482 w 1605"/>
                <a:gd name="T67" fmla="*/ 919 h 1292"/>
                <a:gd name="T68" fmla="*/ 1538 w 1605"/>
                <a:gd name="T69" fmla="*/ 719 h 1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05" h="1292">
                  <a:moveTo>
                    <a:pt x="36" y="558"/>
                  </a:moveTo>
                  <a:cubicBezTo>
                    <a:pt x="262" y="725"/>
                    <a:pt x="262" y="725"/>
                    <a:pt x="262" y="725"/>
                  </a:cubicBezTo>
                  <a:cubicBezTo>
                    <a:pt x="246" y="757"/>
                    <a:pt x="246" y="757"/>
                    <a:pt x="246" y="757"/>
                  </a:cubicBezTo>
                  <a:cubicBezTo>
                    <a:pt x="15" y="587"/>
                    <a:pt x="15" y="587"/>
                    <a:pt x="15" y="587"/>
                  </a:cubicBezTo>
                  <a:cubicBezTo>
                    <a:pt x="6" y="580"/>
                    <a:pt x="0" y="569"/>
                    <a:pt x="0" y="558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24"/>
                    <a:pt x="7" y="11"/>
                    <a:pt x="18" y="5"/>
                  </a:cubicBezTo>
                  <a:cubicBezTo>
                    <a:pt x="24" y="1"/>
                    <a:pt x="30" y="0"/>
                    <a:pt x="36" y="0"/>
                  </a:cubicBezTo>
                  <a:cubicBezTo>
                    <a:pt x="45" y="0"/>
                    <a:pt x="54" y="3"/>
                    <a:pt x="61" y="9"/>
                  </a:cubicBezTo>
                  <a:cubicBezTo>
                    <a:pt x="155" y="96"/>
                    <a:pt x="155" y="96"/>
                    <a:pt x="155" y="96"/>
                  </a:cubicBezTo>
                  <a:cubicBezTo>
                    <a:pt x="156" y="97"/>
                    <a:pt x="156" y="97"/>
                    <a:pt x="156" y="97"/>
                  </a:cubicBezTo>
                  <a:cubicBezTo>
                    <a:pt x="182" y="123"/>
                    <a:pt x="263" y="190"/>
                    <a:pt x="324" y="190"/>
                  </a:cubicBezTo>
                  <a:cubicBezTo>
                    <a:pt x="336" y="190"/>
                    <a:pt x="346" y="187"/>
                    <a:pt x="355" y="182"/>
                  </a:cubicBezTo>
                  <a:cubicBezTo>
                    <a:pt x="358" y="180"/>
                    <a:pt x="361" y="179"/>
                    <a:pt x="364" y="178"/>
                  </a:cubicBezTo>
                  <a:cubicBezTo>
                    <a:pt x="413" y="161"/>
                    <a:pt x="413" y="161"/>
                    <a:pt x="413" y="161"/>
                  </a:cubicBezTo>
                  <a:cubicBezTo>
                    <a:pt x="397" y="176"/>
                    <a:pt x="382" y="191"/>
                    <a:pt x="366" y="207"/>
                  </a:cubicBezTo>
                  <a:cubicBezTo>
                    <a:pt x="361" y="212"/>
                    <a:pt x="357" y="217"/>
                    <a:pt x="353" y="222"/>
                  </a:cubicBezTo>
                  <a:cubicBezTo>
                    <a:pt x="344" y="225"/>
                    <a:pt x="334" y="226"/>
                    <a:pt x="324" y="226"/>
                  </a:cubicBezTo>
                  <a:cubicBezTo>
                    <a:pt x="234" y="226"/>
                    <a:pt x="131" y="123"/>
                    <a:pt x="131" y="123"/>
                  </a:cubicBezTo>
                  <a:cubicBezTo>
                    <a:pt x="36" y="36"/>
                    <a:pt x="36" y="36"/>
                    <a:pt x="36" y="36"/>
                  </a:cubicBezTo>
                  <a:lnTo>
                    <a:pt x="36" y="558"/>
                  </a:lnTo>
                  <a:close/>
                  <a:moveTo>
                    <a:pt x="1538" y="719"/>
                  </a:moveTo>
                  <a:cubicBezTo>
                    <a:pt x="868" y="315"/>
                    <a:pt x="868" y="315"/>
                    <a:pt x="868" y="315"/>
                  </a:cubicBezTo>
                  <a:cubicBezTo>
                    <a:pt x="850" y="312"/>
                    <a:pt x="824" y="309"/>
                    <a:pt x="785" y="307"/>
                  </a:cubicBezTo>
                  <a:cubicBezTo>
                    <a:pt x="1520" y="750"/>
                    <a:pt x="1520" y="750"/>
                    <a:pt x="1520" y="750"/>
                  </a:cubicBezTo>
                  <a:cubicBezTo>
                    <a:pt x="1553" y="770"/>
                    <a:pt x="1564" y="814"/>
                    <a:pt x="1544" y="848"/>
                  </a:cubicBezTo>
                  <a:cubicBezTo>
                    <a:pt x="1544" y="848"/>
                    <a:pt x="1544" y="848"/>
                    <a:pt x="1544" y="848"/>
                  </a:cubicBezTo>
                  <a:cubicBezTo>
                    <a:pt x="1531" y="871"/>
                    <a:pt x="1507" y="883"/>
                    <a:pt x="1482" y="883"/>
                  </a:cubicBezTo>
                  <a:cubicBezTo>
                    <a:pt x="1470" y="883"/>
                    <a:pt x="1457" y="880"/>
                    <a:pt x="1446" y="873"/>
                  </a:cubicBezTo>
                  <a:cubicBezTo>
                    <a:pt x="1236" y="747"/>
                    <a:pt x="1236" y="747"/>
                    <a:pt x="1236" y="747"/>
                  </a:cubicBezTo>
                  <a:cubicBezTo>
                    <a:pt x="1227" y="741"/>
                    <a:pt x="1216" y="743"/>
                    <a:pt x="1210" y="752"/>
                  </a:cubicBezTo>
                  <a:cubicBezTo>
                    <a:pt x="1210" y="752"/>
                    <a:pt x="1210" y="752"/>
                    <a:pt x="1210" y="752"/>
                  </a:cubicBezTo>
                  <a:cubicBezTo>
                    <a:pt x="1202" y="761"/>
                    <a:pt x="1205" y="775"/>
                    <a:pt x="1215" y="781"/>
                  </a:cubicBezTo>
                  <a:cubicBezTo>
                    <a:pt x="1380" y="881"/>
                    <a:pt x="1380" y="881"/>
                    <a:pt x="1380" y="881"/>
                  </a:cubicBezTo>
                  <a:cubicBezTo>
                    <a:pt x="1414" y="901"/>
                    <a:pt x="1427" y="947"/>
                    <a:pt x="1406" y="981"/>
                  </a:cubicBezTo>
                  <a:cubicBezTo>
                    <a:pt x="1393" y="1003"/>
                    <a:pt x="1369" y="1015"/>
                    <a:pt x="1345" y="1015"/>
                  </a:cubicBezTo>
                  <a:cubicBezTo>
                    <a:pt x="1332" y="1015"/>
                    <a:pt x="1320" y="1012"/>
                    <a:pt x="1308" y="1005"/>
                  </a:cubicBezTo>
                  <a:cubicBezTo>
                    <a:pt x="1123" y="893"/>
                    <a:pt x="1123" y="893"/>
                    <a:pt x="1123" y="893"/>
                  </a:cubicBezTo>
                  <a:cubicBezTo>
                    <a:pt x="1115" y="888"/>
                    <a:pt x="1104" y="890"/>
                    <a:pt x="1098" y="898"/>
                  </a:cubicBezTo>
                  <a:cubicBezTo>
                    <a:pt x="1098" y="898"/>
                    <a:pt x="1098" y="898"/>
                    <a:pt x="1098" y="898"/>
                  </a:cubicBezTo>
                  <a:cubicBezTo>
                    <a:pt x="1091" y="907"/>
                    <a:pt x="1093" y="920"/>
                    <a:pt x="1103" y="926"/>
                  </a:cubicBezTo>
                  <a:cubicBezTo>
                    <a:pt x="1229" y="1002"/>
                    <a:pt x="1229" y="1002"/>
                    <a:pt x="1229" y="1002"/>
                  </a:cubicBezTo>
                  <a:cubicBezTo>
                    <a:pt x="1263" y="1022"/>
                    <a:pt x="1274" y="1066"/>
                    <a:pt x="1253" y="1100"/>
                  </a:cubicBezTo>
                  <a:cubicBezTo>
                    <a:pt x="1253" y="1100"/>
                    <a:pt x="1253" y="1100"/>
                    <a:pt x="1253" y="1100"/>
                  </a:cubicBezTo>
                  <a:cubicBezTo>
                    <a:pt x="1240" y="1122"/>
                    <a:pt x="1216" y="1135"/>
                    <a:pt x="1192" y="1135"/>
                  </a:cubicBezTo>
                  <a:cubicBezTo>
                    <a:pt x="1179" y="1135"/>
                    <a:pt x="1167" y="1131"/>
                    <a:pt x="1155" y="1124"/>
                  </a:cubicBezTo>
                  <a:cubicBezTo>
                    <a:pt x="1013" y="1039"/>
                    <a:pt x="1013" y="1039"/>
                    <a:pt x="1013" y="1039"/>
                  </a:cubicBezTo>
                  <a:cubicBezTo>
                    <a:pt x="1004" y="1033"/>
                    <a:pt x="992" y="1036"/>
                    <a:pt x="986" y="1044"/>
                  </a:cubicBezTo>
                  <a:cubicBezTo>
                    <a:pt x="986" y="1044"/>
                    <a:pt x="986" y="1044"/>
                    <a:pt x="986" y="1044"/>
                  </a:cubicBezTo>
                  <a:cubicBezTo>
                    <a:pt x="978" y="1054"/>
                    <a:pt x="981" y="1068"/>
                    <a:pt x="992" y="1075"/>
                  </a:cubicBezTo>
                  <a:cubicBezTo>
                    <a:pt x="1071" y="1122"/>
                    <a:pt x="1071" y="1122"/>
                    <a:pt x="1071" y="1122"/>
                  </a:cubicBezTo>
                  <a:cubicBezTo>
                    <a:pt x="1105" y="1143"/>
                    <a:pt x="1117" y="1188"/>
                    <a:pt x="1097" y="1222"/>
                  </a:cubicBezTo>
                  <a:cubicBezTo>
                    <a:pt x="1083" y="1244"/>
                    <a:pt x="1059" y="1256"/>
                    <a:pt x="1035" y="1256"/>
                  </a:cubicBezTo>
                  <a:cubicBezTo>
                    <a:pt x="1023" y="1256"/>
                    <a:pt x="1010" y="1253"/>
                    <a:pt x="998" y="1246"/>
                  </a:cubicBezTo>
                  <a:cubicBezTo>
                    <a:pt x="884" y="1177"/>
                    <a:pt x="884" y="1177"/>
                    <a:pt x="884" y="1177"/>
                  </a:cubicBezTo>
                  <a:cubicBezTo>
                    <a:pt x="862" y="1206"/>
                    <a:pt x="862" y="1206"/>
                    <a:pt x="862" y="1206"/>
                  </a:cubicBezTo>
                  <a:cubicBezTo>
                    <a:pt x="980" y="1277"/>
                    <a:pt x="980" y="1277"/>
                    <a:pt x="980" y="1277"/>
                  </a:cubicBezTo>
                  <a:cubicBezTo>
                    <a:pt x="997" y="1287"/>
                    <a:pt x="1016" y="1292"/>
                    <a:pt x="1035" y="1292"/>
                  </a:cubicBezTo>
                  <a:cubicBezTo>
                    <a:pt x="1073" y="1292"/>
                    <a:pt x="1108" y="1272"/>
                    <a:pt x="1128" y="1240"/>
                  </a:cubicBezTo>
                  <a:cubicBezTo>
                    <a:pt x="1143" y="1214"/>
                    <a:pt x="1147" y="1184"/>
                    <a:pt x="1139" y="1157"/>
                  </a:cubicBezTo>
                  <a:cubicBezTo>
                    <a:pt x="1155" y="1166"/>
                    <a:pt x="1174" y="1171"/>
                    <a:pt x="1192" y="1171"/>
                  </a:cubicBezTo>
                  <a:cubicBezTo>
                    <a:pt x="1230" y="1171"/>
                    <a:pt x="1265" y="1151"/>
                    <a:pt x="1284" y="1119"/>
                  </a:cubicBezTo>
                  <a:cubicBezTo>
                    <a:pt x="1299" y="1094"/>
                    <a:pt x="1303" y="1066"/>
                    <a:pt x="1297" y="1040"/>
                  </a:cubicBezTo>
                  <a:cubicBezTo>
                    <a:pt x="1312" y="1047"/>
                    <a:pt x="1328" y="1051"/>
                    <a:pt x="1345" y="1051"/>
                  </a:cubicBezTo>
                  <a:cubicBezTo>
                    <a:pt x="1383" y="1051"/>
                    <a:pt x="1418" y="1031"/>
                    <a:pt x="1437" y="999"/>
                  </a:cubicBezTo>
                  <a:cubicBezTo>
                    <a:pt x="1452" y="974"/>
                    <a:pt x="1457" y="945"/>
                    <a:pt x="1450" y="917"/>
                  </a:cubicBezTo>
                  <a:cubicBezTo>
                    <a:pt x="1449" y="916"/>
                    <a:pt x="1449" y="915"/>
                    <a:pt x="1449" y="913"/>
                  </a:cubicBezTo>
                  <a:cubicBezTo>
                    <a:pt x="1459" y="917"/>
                    <a:pt x="1471" y="919"/>
                    <a:pt x="1482" y="919"/>
                  </a:cubicBezTo>
                  <a:cubicBezTo>
                    <a:pt x="1520" y="919"/>
                    <a:pt x="1555" y="899"/>
                    <a:pt x="1575" y="867"/>
                  </a:cubicBezTo>
                  <a:cubicBezTo>
                    <a:pt x="1605" y="816"/>
                    <a:pt x="1589" y="750"/>
                    <a:pt x="1538" y="719"/>
                  </a:cubicBezTo>
                  <a:close/>
                </a:path>
              </a:pathLst>
            </a:custGeom>
            <a:solidFill>
              <a:srgbClr val="283B85">
                <a:lumMod val="10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52109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78949" y="113100"/>
            <a:ext cx="9895842" cy="555973"/>
          </a:xfrm>
        </p:spPr>
        <p:txBody>
          <a:bodyPr>
            <a:noAutofit/>
          </a:bodyPr>
          <a:lstStyle/>
          <a:p>
            <a:r>
              <a:rPr lang="ru-RU" sz="2400" b="1" dirty="0" smtClean="0">
                <a:solidFill>
                  <a:srgbClr val="0A549D"/>
                </a:solidFill>
              </a:rPr>
              <a:t>Процесс анкетирования в электронном виде и на бумажном  носителе</a:t>
            </a:r>
            <a:endParaRPr lang="ru-RU" sz="2400" b="1" dirty="0">
              <a:solidFill>
                <a:srgbClr val="0A549D"/>
              </a:solidFill>
            </a:endParaRPr>
          </a:p>
        </p:txBody>
      </p:sp>
      <p:sp>
        <p:nvSpPr>
          <p:cNvPr id="5" name="Полилиния 4"/>
          <p:cNvSpPr/>
          <p:nvPr/>
        </p:nvSpPr>
        <p:spPr>
          <a:xfrm>
            <a:off x="820128" y="1549236"/>
            <a:ext cx="4681235" cy="938474"/>
          </a:xfrm>
          <a:custGeom>
            <a:avLst/>
            <a:gdLst>
              <a:gd name="connsiteX0" fmla="*/ 0 w 4681235"/>
              <a:gd name="connsiteY0" fmla="*/ 93847 h 938474"/>
              <a:gd name="connsiteX1" fmla="*/ 93847 w 4681235"/>
              <a:gd name="connsiteY1" fmla="*/ 0 h 938474"/>
              <a:gd name="connsiteX2" fmla="*/ 4587388 w 4681235"/>
              <a:gd name="connsiteY2" fmla="*/ 0 h 938474"/>
              <a:gd name="connsiteX3" fmla="*/ 4681235 w 4681235"/>
              <a:gd name="connsiteY3" fmla="*/ 93847 h 938474"/>
              <a:gd name="connsiteX4" fmla="*/ 4681235 w 4681235"/>
              <a:gd name="connsiteY4" fmla="*/ 844627 h 938474"/>
              <a:gd name="connsiteX5" fmla="*/ 4587388 w 4681235"/>
              <a:gd name="connsiteY5" fmla="*/ 938474 h 938474"/>
              <a:gd name="connsiteX6" fmla="*/ 93847 w 4681235"/>
              <a:gd name="connsiteY6" fmla="*/ 938474 h 938474"/>
              <a:gd name="connsiteX7" fmla="*/ 0 w 4681235"/>
              <a:gd name="connsiteY7" fmla="*/ 844627 h 938474"/>
              <a:gd name="connsiteX8" fmla="*/ 0 w 4681235"/>
              <a:gd name="connsiteY8" fmla="*/ 93847 h 9384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81235" h="938474">
                <a:moveTo>
                  <a:pt x="0" y="93847"/>
                </a:moveTo>
                <a:cubicBezTo>
                  <a:pt x="0" y="42017"/>
                  <a:pt x="42017" y="0"/>
                  <a:pt x="93847" y="0"/>
                </a:cubicBezTo>
                <a:lnTo>
                  <a:pt x="4587388" y="0"/>
                </a:lnTo>
                <a:cubicBezTo>
                  <a:pt x="4639218" y="0"/>
                  <a:pt x="4681235" y="42017"/>
                  <a:pt x="4681235" y="93847"/>
                </a:cubicBezTo>
                <a:lnTo>
                  <a:pt x="4681235" y="844627"/>
                </a:lnTo>
                <a:cubicBezTo>
                  <a:pt x="4681235" y="896457"/>
                  <a:pt x="4639218" y="938474"/>
                  <a:pt x="4587388" y="938474"/>
                </a:cubicBezTo>
                <a:lnTo>
                  <a:pt x="93847" y="938474"/>
                </a:lnTo>
                <a:cubicBezTo>
                  <a:pt x="42017" y="938474"/>
                  <a:pt x="0" y="896457"/>
                  <a:pt x="0" y="844627"/>
                </a:cubicBezTo>
                <a:lnTo>
                  <a:pt x="0" y="93847"/>
                </a:lnTo>
                <a:close/>
              </a:path>
            </a:pathLst>
          </a:custGeom>
          <a:solidFill>
            <a:srgbClr val="3A75B0"/>
          </a:solidFill>
          <a:ln w="254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1777" tIns="50347" rIns="61777" bIns="50347" numCol="1" spcCol="1270" anchor="ctr" anchorCtr="0">
            <a:noAutofit/>
          </a:bodyPr>
          <a:lstStyle/>
          <a:p>
            <a:pPr lvl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800" b="0" kern="1200" dirty="0" smtClean="0">
                <a:solidFill>
                  <a:sysClr val="window" lastClr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 электронном виде на мобильном устройстве</a:t>
            </a:r>
            <a:endParaRPr lang="ru-RU" sz="1800" b="0" kern="1200" dirty="0">
              <a:solidFill>
                <a:sysClr val="window" lastClr="FFFFFF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6" name="Полилиния 5"/>
          <p:cNvSpPr/>
          <p:nvPr/>
        </p:nvSpPr>
        <p:spPr>
          <a:xfrm>
            <a:off x="1288251" y="2487711"/>
            <a:ext cx="242090" cy="700136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700136"/>
                </a:lnTo>
                <a:lnTo>
                  <a:pt x="242090" y="700136"/>
                </a:lnTo>
              </a:path>
            </a:pathLst>
          </a:custGeom>
          <a:noFill/>
          <a:ln w="25400" cap="flat" cmpd="sng" algn="ctr">
            <a:solidFill>
              <a:srgbClr val="4F81BD">
                <a:shade val="60000"/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</p:spPr>
        <p:style>
          <a:lnRef idx="2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7" name="Полилиния 6"/>
          <p:cNvSpPr/>
          <p:nvPr/>
        </p:nvSpPr>
        <p:spPr>
          <a:xfrm>
            <a:off x="1530341" y="2811874"/>
            <a:ext cx="3914811" cy="751945"/>
          </a:xfrm>
          <a:custGeom>
            <a:avLst/>
            <a:gdLst>
              <a:gd name="connsiteX0" fmla="*/ 0 w 3914811"/>
              <a:gd name="connsiteY0" fmla="*/ 75195 h 751945"/>
              <a:gd name="connsiteX1" fmla="*/ 75195 w 3914811"/>
              <a:gd name="connsiteY1" fmla="*/ 0 h 751945"/>
              <a:gd name="connsiteX2" fmla="*/ 3839617 w 3914811"/>
              <a:gd name="connsiteY2" fmla="*/ 0 h 751945"/>
              <a:gd name="connsiteX3" fmla="*/ 3914812 w 3914811"/>
              <a:gd name="connsiteY3" fmla="*/ 75195 h 751945"/>
              <a:gd name="connsiteX4" fmla="*/ 3914811 w 3914811"/>
              <a:gd name="connsiteY4" fmla="*/ 676751 h 751945"/>
              <a:gd name="connsiteX5" fmla="*/ 3839616 w 3914811"/>
              <a:gd name="connsiteY5" fmla="*/ 751946 h 751945"/>
              <a:gd name="connsiteX6" fmla="*/ 75195 w 3914811"/>
              <a:gd name="connsiteY6" fmla="*/ 751945 h 751945"/>
              <a:gd name="connsiteX7" fmla="*/ 0 w 3914811"/>
              <a:gd name="connsiteY7" fmla="*/ 676750 h 751945"/>
              <a:gd name="connsiteX8" fmla="*/ 0 w 3914811"/>
              <a:gd name="connsiteY8" fmla="*/ 75195 h 7519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14811" h="751945">
                <a:moveTo>
                  <a:pt x="0" y="75195"/>
                </a:moveTo>
                <a:cubicBezTo>
                  <a:pt x="0" y="33666"/>
                  <a:pt x="33666" y="0"/>
                  <a:pt x="75195" y="0"/>
                </a:cubicBezTo>
                <a:lnTo>
                  <a:pt x="3839617" y="0"/>
                </a:lnTo>
                <a:cubicBezTo>
                  <a:pt x="3881146" y="0"/>
                  <a:pt x="3914812" y="33666"/>
                  <a:pt x="3914812" y="75195"/>
                </a:cubicBezTo>
                <a:cubicBezTo>
                  <a:pt x="3914812" y="275714"/>
                  <a:pt x="3914811" y="476232"/>
                  <a:pt x="3914811" y="676751"/>
                </a:cubicBezTo>
                <a:cubicBezTo>
                  <a:pt x="3914811" y="718280"/>
                  <a:pt x="3881145" y="751946"/>
                  <a:pt x="3839616" y="751946"/>
                </a:cubicBezTo>
                <a:lnTo>
                  <a:pt x="75195" y="751945"/>
                </a:lnTo>
                <a:cubicBezTo>
                  <a:pt x="33666" y="751945"/>
                  <a:pt x="0" y="718279"/>
                  <a:pt x="0" y="676750"/>
                </a:cubicBezTo>
                <a:lnTo>
                  <a:pt x="0" y="75195"/>
                </a:lnTo>
                <a:close/>
              </a:path>
            </a:pathLst>
          </a:custGeom>
          <a:solidFill>
            <a:sysClr val="window" lastClr="FFFFFF">
              <a:alpha val="90000"/>
              <a:hueOff val="0"/>
              <a:satOff val="0"/>
              <a:lumOff val="0"/>
              <a:alphaOff val="0"/>
            </a:sysClr>
          </a:solidFill>
          <a:ln w="25400" cap="flat" cmpd="sng" algn="ctr">
            <a:solidFill>
              <a:srgbClr val="4F81BD"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2979" tIns="35994" rIns="42979" bIns="35994" numCol="1" spcCol="1270" anchor="ctr" anchorCtr="0">
            <a:noAutofit/>
          </a:bodyPr>
          <a:lstStyle/>
          <a:p>
            <a:pPr lvl="0" algn="l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kern="1200" dirty="0" smtClean="0">
                <a:solidFill>
                  <a:srgbClr val="0033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ежсетевое соглашение, анкета на присоединение к защищенным каналам – гарантия безопасности передачи данных </a:t>
            </a:r>
            <a:endParaRPr lang="ru-RU" sz="1200" kern="1200" dirty="0">
              <a:solidFill>
                <a:srgbClr val="003399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Полилиния 7"/>
          <p:cNvSpPr/>
          <p:nvPr/>
        </p:nvSpPr>
        <p:spPr>
          <a:xfrm>
            <a:off x="1288251" y="2487711"/>
            <a:ext cx="242090" cy="1662415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1662415"/>
                </a:lnTo>
                <a:lnTo>
                  <a:pt x="242090" y="1662415"/>
                </a:lnTo>
              </a:path>
            </a:pathLst>
          </a:custGeom>
          <a:noFill/>
          <a:ln w="25400" cap="flat" cmpd="sng" algn="ctr">
            <a:solidFill>
              <a:srgbClr val="4F81BD">
                <a:shade val="60000"/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</p:spPr>
        <p:style>
          <a:lnRef idx="2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9" name="Полилиния 8"/>
          <p:cNvSpPr/>
          <p:nvPr/>
        </p:nvSpPr>
        <p:spPr>
          <a:xfrm>
            <a:off x="1530341" y="3826464"/>
            <a:ext cx="3879970" cy="647325"/>
          </a:xfrm>
          <a:custGeom>
            <a:avLst/>
            <a:gdLst>
              <a:gd name="connsiteX0" fmla="*/ 0 w 3879970"/>
              <a:gd name="connsiteY0" fmla="*/ 64733 h 647325"/>
              <a:gd name="connsiteX1" fmla="*/ 64733 w 3879970"/>
              <a:gd name="connsiteY1" fmla="*/ 0 h 647325"/>
              <a:gd name="connsiteX2" fmla="*/ 3815238 w 3879970"/>
              <a:gd name="connsiteY2" fmla="*/ 0 h 647325"/>
              <a:gd name="connsiteX3" fmla="*/ 3879971 w 3879970"/>
              <a:gd name="connsiteY3" fmla="*/ 64733 h 647325"/>
              <a:gd name="connsiteX4" fmla="*/ 3879970 w 3879970"/>
              <a:gd name="connsiteY4" fmla="*/ 582593 h 647325"/>
              <a:gd name="connsiteX5" fmla="*/ 3815237 w 3879970"/>
              <a:gd name="connsiteY5" fmla="*/ 647326 h 647325"/>
              <a:gd name="connsiteX6" fmla="*/ 64733 w 3879970"/>
              <a:gd name="connsiteY6" fmla="*/ 647325 h 647325"/>
              <a:gd name="connsiteX7" fmla="*/ 0 w 3879970"/>
              <a:gd name="connsiteY7" fmla="*/ 582592 h 647325"/>
              <a:gd name="connsiteX8" fmla="*/ 0 w 3879970"/>
              <a:gd name="connsiteY8" fmla="*/ 64733 h 647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879970" h="647325">
                <a:moveTo>
                  <a:pt x="0" y="64733"/>
                </a:moveTo>
                <a:cubicBezTo>
                  <a:pt x="0" y="28982"/>
                  <a:pt x="28982" y="0"/>
                  <a:pt x="64733" y="0"/>
                </a:cubicBezTo>
                <a:lnTo>
                  <a:pt x="3815238" y="0"/>
                </a:lnTo>
                <a:cubicBezTo>
                  <a:pt x="3850989" y="0"/>
                  <a:pt x="3879971" y="28982"/>
                  <a:pt x="3879971" y="64733"/>
                </a:cubicBezTo>
                <a:cubicBezTo>
                  <a:pt x="3879971" y="237353"/>
                  <a:pt x="3879970" y="409973"/>
                  <a:pt x="3879970" y="582593"/>
                </a:cubicBezTo>
                <a:cubicBezTo>
                  <a:pt x="3879970" y="618344"/>
                  <a:pt x="3850988" y="647326"/>
                  <a:pt x="3815237" y="647326"/>
                </a:cubicBezTo>
                <a:lnTo>
                  <a:pt x="64733" y="647325"/>
                </a:lnTo>
                <a:cubicBezTo>
                  <a:pt x="28982" y="647325"/>
                  <a:pt x="0" y="618343"/>
                  <a:pt x="0" y="582592"/>
                </a:cubicBezTo>
                <a:lnTo>
                  <a:pt x="0" y="64733"/>
                </a:lnTo>
                <a:close/>
              </a:path>
            </a:pathLst>
          </a:custGeom>
          <a:solidFill>
            <a:sysClr val="window" lastClr="FFFFFF">
              <a:alpha val="90000"/>
              <a:hueOff val="0"/>
              <a:satOff val="0"/>
              <a:lumOff val="0"/>
              <a:alphaOff val="0"/>
            </a:sysClr>
          </a:solidFill>
          <a:ln w="25400" cap="flat" cmpd="sng" algn="ctr">
            <a:solidFill>
              <a:srgbClr val="4F81BD"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9915" tIns="32930" rIns="39915" bIns="32930" numCol="1" spcCol="1270" anchor="ctr" anchorCtr="0">
            <a:noAutofit/>
          </a:bodyPr>
          <a:lstStyle/>
          <a:p>
            <a:pPr lvl="0" algn="l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dirty="0" smtClean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полнение анкеты </a:t>
            </a:r>
            <a:r>
              <a:rPr lang="ru-RU" sz="1200" kern="1200" dirty="0" smtClean="0">
                <a:solidFill>
                  <a:srgbClr val="0033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чинается с согласия респондента на обработку персональных данных</a:t>
            </a:r>
            <a:endParaRPr lang="ru-RU" sz="1200" kern="1200" dirty="0">
              <a:solidFill>
                <a:srgbClr val="003399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Полилиния 9"/>
          <p:cNvSpPr/>
          <p:nvPr/>
        </p:nvSpPr>
        <p:spPr>
          <a:xfrm>
            <a:off x="1288251" y="2487711"/>
            <a:ext cx="242090" cy="2493105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2493105"/>
                </a:lnTo>
                <a:lnTo>
                  <a:pt x="242090" y="2493105"/>
                </a:lnTo>
              </a:path>
            </a:pathLst>
          </a:custGeom>
          <a:noFill/>
          <a:ln w="25400" cap="flat" cmpd="sng" algn="ctr">
            <a:solidFill>
              <a:srgbClr val="4F81BD">
                <a:shade val="60000"/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</p:spPr>
        <p:style>
          <a:lnRef idx="2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1" name="Полилиния 10"/>
          <p:cNvSpPr/>
          <p:nvPr/>
        </p:nvSpPr>
        <p:spPr>
          <a:xfrm>
            <a:off x="1530341" y="4739589"/>
            <a:ext cx="3920769" cy="482454"/>
          </a:xfrm>
          <a:custGeom>
            <a:avLst/>
            <a:gdLst>
              <a:gd name="connsiteX0" fmla="*/ 0 w 3920769"/>
              <a:gd name="connsiteY0" fmla="*/ 48245 h 482454"/>
              <a:gd name="connsiteX1" fmla="*/ 48245 w 3920769"/>
              <a:gd name="connsiteY1" fmla="*/ 0 h 482454"/>
              <a:gd name="connsiteX2" fmla="*/ 3872524 w 3920769"/>
              <a:gd name="connsiteY2" fmla="*/ 0 h 482454"/>
              <a:gd name="connsiteX3" fmla="*/ 3920769 w 3920769"/>
              <a:gd name="connsiteY3" fmla="*/ 48245 h 482454"/>
              <a:gd name="connsiteX4" fmla="*/ 3920769 w 3920769"/>
              <a:gd name="connsiteY4" fmla="*/ 434209 h 482454"/>
              <a:gd name="connsiteX5" fmla="*/ 3872524 w 3920769"/>
              <a:gd name="connsiteY5" fmla="*/ 482454 h 482454"/>
              <a:gd name="connsiteX6" fmla="*/ 48245 w 3920769"/>
              <a:gd name="connsiteY6" fmla="*/ 482454 h 482454"/>
              <a:gd name="connsiteX7" fmla="*/ 0 w 3920769"/>
              <a:gd name="connsiteY7" fmla="*/ 434209 h 482454"/>
              <a:gd name="connsiteX8" fmla="*/ 0 w 3920769"/>
              <a:gd name="connsiteY8" fmla="*/ 48245 h 482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20769" h="482454">
                <a:moveTo>
                  <a:pt x="0" y="48245"/>
                </a:moveTo>
                <a:cubicBezTo>
                  <a:pt x="0" y="21600"/>
                  <a:pt x="21600" y="0"/>
                  <a:pt x="48245" y="0"/>
                </a:cubicBezTo>
                <a:lnTo>
                  <a:pt x="3872524" y="0"/>
                </a:lnTo>
                <a:cubicBezTo>
                  <a:pt x="3899169" y="0"/>
                  <a:pt x="3920769" y="21600"/>
                  <a:pt x="3920769" y="48245"/>
                </a:cubicBezTo>
                <a:lnTo>
                  <a:pt x="3920769" y="434209"/>
                </a:lnTo>
                <a:cubicBezTo>
                  <a:pt x="3920769" y="460854"/>
                  <a:pt x="3899169" y="482454"/>
                  <a:pt x="3872524" y="482454"/>
                </a:cubicBezTo>
                <a:lnTo>
                  <a:pt x="48245" y="482454"/>
                </a:lnTo>
                <a:cubicBezTo>
                  <a:pt x="21600" y="482454"/>
                  <a:pt x="0" y="460854"/>
                  <a:pt x="0" y="434209"/>
                </a:cubicBezTo>
                <a:lnTo>
                  <a:pt x="0" y="48245"/>
                </a:lnTo>
                <a:close/>
              </a:path>
            </a:pathLst>
          </a:custGeom>
          <a:solidFill>
            <a:sysClr val="window" lastClr="FFFFFF">
              <a:alpha val="90000"/>
              <a:hueOff val="0"/>
              <a:satOff val="0"/>
              <a:lumOff val="0"/>
              <a:alphaOff val="0"/>
            </a:sysClr>
          </a:solidFill>
          <a:ln w="25400" cap="flat" cmpd="sng" algn="ctr">
            <a:solidFill>
              <a:srgbClr val="4F81BD"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5086" tIns="28101" rIns="35086" bIns="28101" numCol="1" spcCol="1270" anchor="ctr" anchorCtr="0">
            <a:noAutofit/>
          </a:bodyPr>
          <a:lstStyle/>
          <a:p>
            <a:pPr lvl="0" algn="l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kern="1200" dirty="0" smtClean="0">
                <a:solidFill>
                  <a:srgbClr val="0033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Заполненные анкеты передаются Заказчику по защищенному каналу связи</a:t>
            </a:r>
          </a:p>
        </p:txBody>
      </p:sp>
      <p:sp>
        <p:nvSpPr>
          <p:cNvPr id="12" name="Полилиния 11"/>
          <p:cNvSpPr/>
          <p:nvPr/>
        </p:nvSpPr>
        <p:spPr>
          <a:xfrm>
            <a:off x="1288251" y="2487711"/>
            <a:ext cx="242090" cy="3203553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3203553"/>
                </a:lnTo>
                <a:lnTo>
                  <a:pt x="242090" y="3203553"/>
                </a:lnTo>
              </a:path>
            </a:pathLst>
          </a:custGeom>
          <a:noFill/>
          <a:ln w="25400" cap="flat" cmpd="sng" algn="ctr">
            <a:solidFill>
              <a:srgbClr val="4F81BD">
                <a:shade val="60000"/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</p:spPr>
        <p:style>
          <a:lnRef idx="2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3" name="Полилиния 12"/>
          <p:cNvSpPr/>
          <p:nvPr/>
        </p:nvSpPr>
        <p:spPr>
          <a:xfrm>
            <a:off x="1530341" y="5449802"/>
            <a:ext cx="3948183" cy="706783"/>
          </a:xfrm>
          <a:custGeom>
            <a:avLst/>
            <a:gdLst>
              <a:gd name="connsiteX0" fmla="*/ 0 w 3948183"/>
              <a:gd name="connsiteY0" fmla="*/ 48292 h 482922"/>
              <a:gd name="connsiteX1" fmla="*/ 48292 w 3948183"/>
              <a:gd name="connsiteY1" fmla="*/ 0 h 482922"/>
              <a:gd name="connsiteX2" fmla="*/ 3899891 w 3948183"/>
              <a:gd name="connsiteY2" fmla="*/ 0 h 482922"/>
              <a:gd name="connsiteX3" fmla="*/ 3948183 w 3948183"/>
              <a:gd name="connsiteY3" fmla="*/ 48292 h 482922"/>
              <a:gd name="connsiteX4" fmla="*/ 3948183 w 3948183"/>
              <a:gd name="connsiteY4" fmla="*/ 434630 h 482922"/>
              <a:gd name="connsiteX5" fmla="*/ 3899891 w 3948183"/>
              <a:gd name="connsiteY5" fmla="*/ 482922 h 482922"/>
              <a:gd name="connsiteX6" fmla="*/ 48292 w 3948183"/>
              <a:gd name="connsiteY6" fmla="*/ 482922 h 482922"/>
              <a:gd name="connsiteX7" fmla="*/ 0 w 3948183"/>
              <a:gd name="connsiteY7" fmla="*/ 434630 h 482922"/>
              <a:gd name="connsiteX8" fmla="*/ 0 w 3948183"/>
              <a:gd name="connsiteY8" fmla="*/ 48292 h 482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48183" h="482922">
                <a:moveTo>
                  <a:pt x="0" y="48292"/>
                </a:moveTo>
                <a:cubicBezTo>
                  <a:pt x="0" y="21621"/>
                  <a:pt x="21621" y="0"/>
                  <a:pt x="48292" y="0"/>
                </a:cubicBezTo>
                <a:lnTo>
                  <a:pt x="3899891" y="0"/>
                </a:lnTo>
                <a:cubicBezTo>
                  <a:pt x="3926562" y="0"/>
                  <a:pt x="3948183" y="21621"/>
                  <a:pt x="3948183" y="48292"/>
                </a:cubicBezTo>
                <a:lnTo>
                  <a:pt x="3948183" y="434630"/>
                </a:lnTo>
                <a:cubicBezTo>
                  <a:pt x="3948183" y="461301"/>
                  <a:pt x="3926562" y="482922"/>
                  <a:pt x="3899891" y="482922"/>
                </a:cubicBezTo>
                <a:lnTo>
                  <a:pt x="48292" y="482922"/>
                </a:lnTo>
                <a:cubicBezTo>
                  <a:pt x="21621" y="482922"/>
                  <a:pt x="0" y="461301"/>
                  <a:pt x="0" y="434630"/>
                </a:cubicBezTo>
                <a:lnTo>
                  <a:pt x="0" y="48292"/>
                </a:lnTo>
                <a:close/>
              </a:path>
            </a:pathLst>
          </a:custGeom>
          <a:solidFill>
            <a:sysClr val="window" lastClr="FFFFFF">
              <a:alpha val="90000"/>
              <a:hueOff val="0"/>
              <a:satOff val="0"/>
              <a:lumOff val="0"/>
              <a:alphaOff val="0"/>
            </a:sysClr>
          </a:solidFill>
          <a:ln w="25400" cap="flat" cmpd="sng" algn="ctr">
            <a:solidFill>
              <a:srgbClr val="4F81BD"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5099" tIns="28114" rIns="35099" bIns="28114" numCol="1" spcCol="1270" anchor="ctr" anchorCtr="0">
            <a:noAutofit/>
          </a:bodyPr>
          <a:lstStyle/>
          <a:p>
            <a:pPr lvl="0" algn="l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kern="1200" dirty="0" smtClean="0">
                <a:solidFill>
                  <a:srgbClr val="0033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озможность формирования карточки опроса, получения </a:t>
            </a:r>
            <a:r>
              <a:rPr lang="ru-RU" sz="1200" dirty="0" smtClean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обработки результатов </a:t>
            </a:r>
            <a:r>
              <a:rPr lang="ru-RU" sz="1200" kern="1200" dirty="0" smtClean="0">
                <a:solidFill>
                  <a:srgbClr val="0033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нкетирования в Личном Кабинете Заказчика</a:t>
            </a:r>
            <a:endParaRPr lang="ru-RU" sz="1200" kern="1200" dirty="0">
              <a:solidFill>
                <a:srgbClr val="003399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Полилиния 13"/>
          <p:cNvSpPr/>
          <p:nvPr/>
        </p:nvSpPr>
        <p:spPr>
          <a:xfrm>
            <a:off x="6613244" y="1573734"/>
            <a:ext cx="4961546" cy="912624"/>
          </a:xfrm>
          <a:custGeom>
            <a:avLst/>
            <a:gdLst>
              <a:gd name="connsiteX0" fmla="*/ 0 w 4961546"/>
              <a:gd name="connsiteY0" fmla="*/ 91262 h 912624"/>
              <a:gd name="connsiteX1" fmla="*/ 91262 w 4961546"/>
              <a:gd name="connsiteY1" fmla="*/ 0 h 912624"/>
              <a:gd name="connsiteX2" fmla="*/ 4870284 w 4961546"/>
              <a:gd name="connsiteY2" fmla="*/ 0 h 912624"/>
              <a:gd name="connsiteX3" fmla="*/ 4961546 w 4961546"/>
              <a:gd name="connsiteY3" fmla="*/ 91262 h 912624"/>
              <a:gd name="connsiteX4" fmla="*/ 4961546 w 4961546"/>
              <a:gd name="connsiteY4" fmla="*/ 821362 h 912624"/>
              <a:gd name="connsiteX5" fmla="*/ 4870284 w 4961546"/>
              <a:gd name="connsiteY5" fmla="*/ 912624 h 912624"/>
              <a:gd name="connsiteX6" fmla="*/ 91262 w 4961546"/>
              <a:gd name="connsiteY6" fmla="*/ 912624 h 912624"/>
              <a:gd name="connsiteX7" fmla="*/ 0 w 4961546"/>
              <a:gd name="connsiteY7" fmla="*/ 821362 h 912624"/>
              <a:gd name="connsiteX8" fmla="*/ 0 w 4961546"/>
              <a:gd name="connsiteY8" fmla="*/ 91262 h 9126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961546" h="912624">
                <a:moveTo>
                  <a:pt x="0" y="91262"/>
                </a:moveTo>
                <a:cubicBezTo>
                  <a:pt x="0" y="40859"/>
                  <a:pt x="40859" y="0"/>
                  <a:pt x="91262" y="0"/>
                </a:cubicBezTo>
                <a:lnTo>
                  <a:pt x="4870284" y="0"/>
                </a:lnTo>
                <a:cubicBezTo>
                  <a:pt x="4920687" y="0"/>
                  <a:pt x="4961546" y="40859"/>
                  <a:pt x="4961546" y="91262"/>
                </a:cubicBezTo>
                <a:lnTo>
                  <a:pt x="4961546" y="821362"/>
                </a:lnTo>
                <a:cubicBezTo>
                  <a:pt x="4961546" y="871765"/>
                  <a:pt x="4920687" y="912624"/>
                  <a:pt x="4870284" y="912624"/>
                </a:cubicBezTo>
                <a:lnTo>
                  <a:pt x="91262" y="912624"/>
                </a:lnTo>
                <a:cubicBezTo>
                  <a:pt x="40859" y="912624"/>
                  <a:pt x="0" y="871765"/>
                  <a:pt x="0" y="821362"/>
                </a:cubicBezTo>
                <a:lnTo>
                  <a:pt x="0" y="91262"/>
                </a:lnTo>
                <a:close/>
              </a:path>
            </a:pathLst>
          </a:custGeom>
          <a:solidFill>
            <a:srgbClr val="3A75B0"/>
          </a:solidFill>
          <a:ln w="254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1020" tIns="49590" rIns="61020" bIns="49590" numCol="1" spcCol="1270" anchor="ctr" anchorCtr="0">
            <a:noAutofit/>
          </a:bodyPr>
          <a:lstStyle/>
          <a:p>
            <a:pPr lvl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800" b="0" kern="1200" dirty="0" smtClean="0">
                <a:solidFill>
                  <a:sysClr val="window" lastClr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 бумажном носителе</a:t>
            </a:r>
            <a:endParaRPr lang="ru-RU" sz="1800" b="0" kern="1200" dirty="0">
              <a:solidFill>
                <a:sysClr val="window" lastClr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Полилиния 14"/>
          <p:cNvSpPr/>
          <p:nvPr/>
        </p:nvSpPr>
        <p:spPr>
          <a:xfrm>
            <a:off x="7109398" y="2486358"/>
            <a:ext cx="244785" cy="597645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597645"/>
                </a:lnTo>
                <a:lnTo>
                  <a:pt x="244785" y="597645"/>
                </a:lnTo>
              </a:path>
            </a:pathLst>
          </a:custGeom>
          <a:noFill/>
          <a:ln w="25400" cap="flat" cmpd="sng" algn="ctr">
            <a:solidFill>
              <a:srgbClr val="4F81BD">
                <a:shade val="60000"/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</p:spPr>
        <p:style>
          <a:lnRef idx="2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6" name="Полилиния 15"/>
          <p:cNvSpPr/>
          <p:nvPr/>
        </p:nvSpPr>
        <p:spPr>
          <a:xfrm>
            <a:off x="7354184" y="2747382"/>
            <a:ext cx="4220606" cy="673242"/>
          </a:xfrm>
          <a:custGeom>
            <a:avLst/>
            <a:gdLst>
              <a:gd name="connsiteX0" fmla="*/ 0 w 4220606"/>
              <a:gd name="connsiteY0" fmla="*/ 67324 h 673242"/>
              <a:gd name="connsiteX1" fmla="*/ 67324 w 4220606"/>
              <a:gd name="connsiteY1" fmla="*/ 0 h 673242"/>
              <a:gd name="connsiteX2" fmla="*/ 4153282 w 4220606"/>
              <a:gd name="connsiteY2" fmla="*/ 0 h 673242"/>
              <a:gd name="connsiteX3" fmla="*/ 4220606 w 4220606"/>
              <a:gd name="connsiteY3" fmla="*/ 67324 h 673242"/>
              <a:gd name="connsiteX4" fmla="*/ 4220606 w 4220606"/>
              <a:gd name="connsiteY4" fmla="*/ 605918 h 673242"/>
              <a:gd name="connsiteX5" fmla="*/ 4153282 w 4220606"/>
              <a:gd name="connsiteY5" fmla="*/ 673242 h 673242"/>
              <a:gd name="connsiteX6" fmla="*/ 67324 w 4220606"/>
              <a:gd name="connsiteY6" fmla="*/ 673242 h 673242"/>
              <a:gd name="connsiteX7" fmla="*/ 0 w 4220606"/>
              <a:gd name="connsiteY7" fmla="*/ 605918 h 673242"/>
              <a:gd name="connsiteX8" fmla="*/ 0 w 4220606"/>
              <a:gd name="connsiteY8" fmla="*/ 67324 h 6732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220606" h="673242">
                <a:moveTo>
                  <a:pt x="0" y="67324"/>
                </a:moveTo>
                <a:cubicBezTo>
                  <a:pt x="0" y="30142"/>
                  <a:pt x="30142" y="0"/>
                  <a:pt x="67324" y="0"/>
                </a:cubicBezTo>
                <a:lnTo>
                  <a:pt x="4153282" y="0"/>
                </a:lnTo>
                <a:cubicBezTo>
                  <a:pt x="4190464" y="0"/>
                  <a:pt x="4220606" y="30142"/>
                  <a:pt x="4220606" y="67324"/>
                </a:cubicBezTo>
                <a:lnTo>
                  <a:pt x="4220606" y="605918"/>
                </a:lnTo>
                <a:cubicBezTo>
                  <a:pt x="4220606" y="643100"/>
                  <a:pt x="4190464" y="673242"/>
                  <a:pt x="4153282" y="673242"/>
                </a:cubicBezTo>
                <a:lnTo>
                  <a:pt x="67324" y="673242"/>
                </a:lnTo>
                <a:cubicBezTo>
                  <a:pt x="30142" y="673242"/>
                  <a:pt x="0" y="643100"/>
                  <a:pt x="0" y="605918"/>
                </a:cubicBezTo>
                <a:lnTo>
                  <a:pt x="0" y="67324"/>
                </a:lnTo>
                <a:close/>
              </a:path>
            </a:pathLst>
          </a:custGeom>
          <a:solidFill>
            <a:sysClr val="window" lastClr="FFFFFF">
              <a:alpha val="90000"/>
              <a:hueOff val="0"/>
              <a:satOff val="0"/>
              <a:lumOff val="0"/>
              <a:alphaOff val="0"/>
            </a:sysClr>
          </a:solidFill>
          <a:ln w="25400" cap="flat" cmpd="sng" algn="ctr">
            <a:solidFill>
              <a:srgbClr val="4F81BD"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0674" tIns="33689" rIns="40674" bIns="33689" numCol="1" spcCol="1270" anchor="ctr" anchorCtr="0">
            <a:noAutofit/>
          </a:bodyPr>
          <a:lstStyle/>
          <a:p>
            <a:pPr lvl="0" algn="l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kern="1200" dirty="0" smtClean="0">
                <a:solidFill>
                  <a:srgbClr val="0033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озможность проведения опросов в любом населенном пункте</a:t>
            </a:r>
            <a:endParaRPr lang="ru-RU" sz="1200" kern="1200" dirty="0">
              <a:solidFill>
                <a:srgbClr val="003399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Полилиния 16"/>
          <p:cNvSpPr/>
          <p:nvPr/>
        </p:nvSpPr>
        <p:spPr>
          <a:xfrm>
            <a:off x="7109398" y="2486358"/>
            <a:ext cx="242749" cy="1547208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1547208"/>
                </a:lnTo>
                <a:lnTo>
                  <a:pt x="242749" y="1547208"/>
                </a:lnTo>
              </a:path>
            </a:pathLst>
          </a:custGeom>
          <a:noFill/>
          <a:ln w="25400" cap="flat" cmpd="sng" algn="ctr">
            <a:solidFill>
              <a:srgbClr val="4F81BD">
                <a:shade val="60000"/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</p:spPr>
        <p:style>
          <a:lnRef idx="2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8" name="Полилиния 17"/>
          <p:cNvSpPr/>
          <p:nvPr/>
        </p:nvSpPr>
        <p:spPr>
          <a:xfrm>
            <a:off x="7352147" y="3725000"/>
            <a:ext cx="4220606" cy="617133"/>
          </a:xfrm>
          <a:custGeom>
            <a:avLst/>
            <a:gdLst>
              <a:gd name="connsiteX0" fmla="*/ 0 w 4220606"/>
              <a:gd name="connsiteY0" fmla="*/ 61713 h 617133"/>
              <a:gd name="connsiteX1" fmla="*/ 61713 w 4220606"/>
              <a:gd name="connsiteY1" fmla="*/ 0 h 617133"/>
              <a:gd name="connsiteX2" fmla="*/ 4158893 w 4220606"/>
              <a:gd name="connsiteY2" fmla="*/ 0 h 617133"/>
              <a:gd name="connsiteX3" fmla="*/ 4220606 w 4220606"/>
              <a:gd name="connsiteY3" fmla="*/ 61713 h 617133"/>
              <a:gd name="connsiteX4" fmla="*/ 4220606 w 4220606"/>
              <a:gd name="connsiteY4" fmla="*/ 555420 h 617133"/>
              <a:gd name="connsiteX5" fmla="*/ 4158893 w 4220606"/>
              <a:gd name="connsiteY5" fmla="*/ 617133 h 617133"/>
              <a:gd name="connsiteX6" fmla="*/ 61713 w 4220606"/>
              <a:gd name="connsiteY6" fmla="*/ 617133 h 617133"/>
              <a:gd name="connsiteX7" fmla="*/ 0 w 4220606"/>
              <a:gd name="connsiteY7" fmla="*/ 555420 h 617133"/>
              <a:gd name="connsiteX8" fmla="*/ 0 w 4220606"/>
              <a:gd name="connsiteY8" fmla="*/ 61713 h 6171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220606" h="617133">
                <a:moveTo>
                  <a:pt x="0" y="61713"/>
                </a:moveTo>
                <a:cubicBezTo>
                  <a:pt x="0" y="27630"/>
                  <a:pt x="27630" y="0"/>
                  <a:pt x="61713" y="0"/>
                </a:cubicBezTo>
                <a:lnTo>
                  <a:pt x="4158893" y="0"/>
                </a:lnTo>
                <a:cubicBezTo>
                  <a:pt x="4192976" y="0"/>
                  <a:pt x="4220606" y="27630"/>
                  <a:pt x="4220606" y="61713"/>
                </a:cubicBezTo>
                <a:lnTo>
                  <a:pt x="4220606" y="555420"/>
                </a:lnTo>
                <a:cubicBezTo>
                  <a:pt x="4220606" y="589503"/>
                  <a:pt x="4192976" y="617133"/>
                  <a:pt x="4158893" y="617133"/>
                </a:cubicBezTo>
                <a:lnTo>
                  <a:pt x="61713" y="617133"/>
                </a:lnTo>
                <a:cubicBezTo>
                  <a:pt x="27630" y="617133"/>
                  <a:pt x="0" y="589503"/>
                  <a:pt x="0" y="555420"/>
                </a:cubicBezTo>
                <a:lnTo>
                  <a:pt x="0" y="61713"/>
                </a:lnTo>
                <a:close/>
              </a:path>
            </a:pathLst>
          </a:custGeom>
          <a:solidFill>
            <a:sysClr val="window" lastClr="FFFFFF">
              <a:alpha val="90000"/>
              <a:hueOff val="0"/>
              <a:satOff val="0"/>
              <a:lumOff val="0"/>
              <a:alphaOff val="0"/>
            </a:sysClr>
          </a:solidFill>
          <a:ln w="25400" cap="flat" cmpd="sng" algn="ctr">
            <a:solidFill>
              <a:srgbClr val="4F81BD"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9030" tIns="32045" rIns="39030" bIns="32045" numCol="1" spcCol="1270" anchor="ctr" anchorCtr="0">
            <a:noAutofit/>
          </a:bodyPr>
          <a:lstStyle/>
          <a:p>
            <a:pPr lvl="0" algn="l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kern="1200" dirty="0" smtClean="0">
                <a:solidFill>
                  <a:srgbClr val="0033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т привязки к устойчивому подключению к сети Интернет</a:t>
            </a:r>
            <a:endParaRPr lang="ru-RU" sz="1200" kern="1200" dirty="0">
              <a:solidFill>
                <a:srgbClr val="003399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Полилиния 18"/>
          <p:cNvSpPr/>
          <p:nvPr/>
        </p:nvSpPr>
        <p:spPr>
          <a:xfrm>
            <a:off x="7109398" y="2486358"/>
            <a:ext cx="236015" cy="2327091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2327091"/>
                </a:lnTo>
                <a:lnTo>
                  <a:pt x="236015" y="2327091"/>
                </a:lnTo>
              </a:path>
            </a:pathLst>
          </a:custGeom>
          <a:noFill/>
          <a:ln w="25400" cap="flat" cmpd="sng" algn="ctr">
            <a:solidFill>
              <a:srgbClr val="4F81BD">
                <a:shade val="60000"/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</p:spPr>
        <p:style>
          <a:lnRef idx="2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0" name="Полилиния 19"/>
          <p:cNvSpPr/>
          <p:nvPr/>
        </p:nvSpPr>
        <p:spPr>
          <a:xfrm>
            <a:off x="7345414" y="4545044"/>
            <a:ext cx="4229369" cy="536810"/>
          </a:xfrm>
          <a:custGeom>
            <a:avLst/>
            <a:gdLst>
              <a:gd name="connsiteX0" fmla="*/ 0 w 4229369"/>
              <a:gd name="connsiteY0" fmla="*/ 53681 h 536810"/>
              <a:gd name="connsiteX1" fmla="*/ 53681 w 4229369"/>
              <a:gd name="connsiteY1" fmla="*/ 0 h 536810"/>
              <a:gd name="connsiteX2" fmla="*/ 4175688 w 4229369"/>
              <a:gd name="connsiteY2" fmla="*/ 0 h 536810"/>
              <a:gd name="connsiteX3" fmla="*/ 4229369 w 4229369"/>
              <a:gd name="connsiteY3" fmla="*/ 53681 h 536810"/>
              <a:gd name="connsiteX4" fmla="*/ 4229369 w 4229369"/>
              <a:gd name="connsiteY4" fmla="*/ 483129 h 536810"/>
              <a:gd name="connsiteX5" fmla="*/ 4175688 w 4229369"/>
              <a:gd name="connsiteY5" fmla="*/ 536810 h 536810"/>
              <a:gd name="connsiteX6" fmla="*/ 53681 w 4229369"/>
              <a:gd name="connsiteY6" fmla="*/ 536810 h 536810"/>
              <a:gd name="connsiteX7" fmla="*/ 0 w 4229369"/>
              <a:gd name="connsiteY7" fmla="*/ 483129 h 536810"/>
              <a:gd name="connsiteX8" fmla="*/ 0 w 4229369"/>
              <a:gd name="connsiteY8" fmla="*/ 53681 h 536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229369" h="536810">
                <a:moveTo>
                  <a:pt x="0" y="53681"/>
                </a:moveTo>
                <a:cubicBezTo>
                  <a:pt x="0" y="24034"/>
                  <a:pt x="24034" y="0"/>
                  <a:pt x="53681" y="0"/>
                </a:cubicBezTo>
                <a:lnTo>
                  <a:pt x="4175688" y="0"/>
                </a:lnTo>
                <a:cubicBezTo>
                  <a:pt x="4205335" y="0"/>
                  <a:pt x="4229369" y="24034"/>
                  <a:pt x="4229369" y="53681"/>
                </a:cubicBezTo>
                <a:lnTo>
                  <a:pt x="4229369" y="483129"/>
                </a:lnTo>
                <a:cubicBezTo>
                  <a:pt x="4229369" y="512776"/>
                  <a:pt x="4205335" y="536810"/>
                  <a:pt x="4175688" y="536810"/>
                </a:cubicBezTo>
                <a:lnTo>
                  <a:pt x="53681" y="536810"/>
                </a:lnTo>
                <a:cubicBezTo>
                  <a:pt x="24034" y="536810"/>
                  <a:pt x="0" y="512776"/>
                  <a:pt x="0" y="483129"/>
                </a:cubicBezTo>
                <a:lnTo>
                  <a:pt x="0" y="53681"/>
                </a:lnTo>
                <a:close/>
              </a:path>
            </a:pathLst>
          </a:custGeom>
          <a:solidFill>
            <a:sysClr val="window" lastClr="FFFFFF">
              <a:alpha val="90000"/>
              <a:hueOff val="0"/>
              <a:satOff val="0"/>
              <a:lumOff val="0"/>
              <a:alphaOff val="0"/>
            </a:sysClr>
          </a:solidFill>
          <a:ln w="25400" cap="flat" cmpd="sng" algn="ctr">
            <a:solidFill>
              <a:srgbClr val="4F81BD"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6678" tIns="29693" rIns="36678" bIns="29693" numCol="1" spcCol="1270" anchor="ctr" anchorCtr="0">
            <a:noAutofit/>
          </a:bodyPr>
          <a:lstStyle/>
          <a:p>
            <a:pPr lvl="0" algn="l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kern="1200" dirty="0" smtClean="0">
                <a:solidFill>
                  <a:srgbClr val="0033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огласие на обработку персональных данных оформляется отдельно или на опросном листе</a:t>
            </a:r>
            <a:endParaRPr lang="ru-RU" sz="1200" kern="1200" dirty="0">
              <a:solidFill>
                <a:srgbClr val="003399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Полилиния 20"/>
          <p:cNvSpPr/>
          <p:nvPr/>
        </p:nvSpPr>
        <p:spPr>
          <a:xfrm>
            <a:off x="7109398" y="2486358"/>
            <a:ext cx="250443" cy="3160394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3160394"/>
                </a:lnTo>
                <a:lnTo>
                  <a:pt x="250443" y="3160394"/>
                </a:lnTo>
              </a:path>
            </a:pathLst>
          </a:custGeom>
          <a:noFill/>
          <a:ln w="25400" cap="flat" cmpd="sng" algn="ctr">
            <a:solidFill>
              <a:srgbClr val="4F81BD">
                <a:shade val="60000"/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</p:spPr>
        <p:style>
          <a:lnRef idx="2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2" name="Полилиния 21"/>
          <p:cNvSpPr/>
          <p:nvPr/>
        </p:nvSpPr>
        <p:spPr>
          <a:xfrm>
            <a:off x="7359842" y="5356722"/>
            <a:ext cx="4214941" cy="580061"/>
          </a:xfrm>
          <a:custGeom>
            <a:avLst/>
            <a:gdLst>
              <a:gd name="connsiteX0" fmla="*/ 0 w 4214941"/>
              <a:gd name="connsiteY0" fmla="*/ 58006 h 580061"/>
              <a:gd name="connsiteX1" fmla="*/ 58006 w 4214941"/>
              <a:gd name="connsiteY1" fmla="*/ 0 h 580061"/>
              <a:gd name="connsiteX2" fmla="*/ 4156935 w 4214941"/>
              <a:gd name="connsiteY2" fmla="*/ 0 h 580061"/>
              <a:gd name="connsiteX3" fmla="*/ 4214941 w 4214941"/>
              <a:gd name="connsiteY3" fmla="*/ 58006 h 580061"/>
              <a:gd name="connsiteX4" fmla="*/ 4214941 w 4214941"/>
              <a:gd name="connsiteY4" fmla="*/ 522055 h 580061"/>
              <a:gd name="connsiteX5" fmla="*/ 4156935 w 4214941"/>
              <a:gd name="connsiteY5" fmla="*/ 580061 h 580061"/>
              <a:gd name="connsiteX6" fmla="*/ 58006 w 4214941"/>
              <a:gd name="connsiteY6" fmla="*/ 580061 h 580061"/>
              <a:gd name="connsiteX7" fmla="*/ 0 w 4214941"/>
              <a:gd name="connsiteY7" fmla="*/ 522055 h 580061"/>
              <a:gd name="connsiteX8" fmla="*/ 0 w 4214941"/>
              <a:gd name="connsiteY8" fmla="*/ 58006 h 5800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214941" h="580061">
                <a:moveTo>
                  <a:pt x="0" y="58006"/>
                </a:moveTo>
                <a:cubicBezTo>
                  <a:pt x="0" y="25970"/>
                  <a:pt x="25970" y="0"/>
                  <a:pt x="58006" y="0"/>
                </a:cubicBezTo>
                <a:lnTo>
                  <a:pt x="4156935" y="0"/>
                </a:lnTo>
                <a:cubicBezTo>
                  <a:pt x="4188971" y="0"/>
                  <a:pt x="4214941" y="25970"/>
                  <a:pt x="4214941" y="58006"/>
                </a:cubicBezTo>
                <a:lnTo>
                  <a:pt x="4214941" y="522055"/>
                </a:lnTo>
                <a:cubicBezTo>
                  <a:pt x="4214941" y="554091"/>
                  <a:pt x="4188971" y="580061"/>
                  <a:pt x="4156935" y="580061"/>
                </a:cubicBezTo>
                <a:lnTo>
                  <a:pt x="58006" y="580061"/>
                </a:lnTo>
                <a:cubicBezTo>
                  <a:pt x="25970" y="580061"/>
                  <a:pt x="0" y="554091"/>
                  <a:pt x="0" y="522055"/>
                </a:cubicBezTo>
                <a:lnTo>
                  <a:pt x="0" y="58006"/>
                </a:lnTo>
                <a:close/>
              </a:path>
            </a:pathLst>
          </a:custGeom>
          <a:solidFill>
            <a:sysClr val="window" lastClr="FFFFFF">
              <a:alpha val="90000"/>
              <a:hueOff val="0"/>
              <a:satOff val="0"/>
              <a:lumOff val="0"/>
              <a:alphaOff val="0"/>
            </a:sysClr>
          </a:solidFill>
          <a:ln w="25400" cap="flat" cmpd="sng" algn="ctr">
            <a:solidFill>
              <a:srgbClr val="4F81BD"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7944" tIns="30959" rIns="37944" bIns="30959" numCol="1" spcCol="1270" anchor="ctr" anchorCtr="0">
            <a:noAutofit/>
          </a:bodyPr>
          <a:lstStyle/>
          <a:p>
            <a:pPr lvl="0" algn="l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kern="1200" dirty="0" smtClean="0">
                <a:solidFill>
                  <a:srgbClr val="0033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Заполненные опросные листы передаются Заказчику по реестру</a:t>
            </a:r>
          </a:p>
        </p:txBody>
      </p:sp>
    </p:spTree>
    <p:extLst>
      <p:ext uri="{BB962C8B-B14F-4D97-AF65-F5344CB8AC3E}">
        <p14:creationId xmlns:p14="http://schemas.microsoft.com/office/powerpoint/2010/main" val="2895852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67508" y="124251"/>
            <a:ext cx="9895842" cy="638465"/>
          </a:xfrm>
        </p:spPr>
        <p:txBody>
          <a:bodyPr>
            <a:noAutofit/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ru-RU" sz="2400" b="1" kern="0" dirty="0">
                <a:solidFill>
                  <a:srgbClr val="00529F"/>
                </a:solidFill>
                <a:ea typeface="+mn-ea"/>
              </a:rPr>
              <a:t>Анкетирование на мобильном устройстве </a:t>
            </a:r>
            <a:br>
              <a:rPr lang="ru-RU" sz="2400" b="1" kern="0" dirty="0">
                <a:solidFill>
                  <a:srgbClr val="00529F"/>
                </a:solidFill>
                <a:ea typeface="+mn-ea"/>
              </a:rPr>
            </a:br>
            <a:r>
              <a:rPr lang="ru-RU" sz="2400" b="1" kern="0" dirty="0">
                <a:solidFill>
                  <a:srgbClr val="00529F"/>
                </a:solidFill>
                <a:ea typeface="+mn-ea"/>
              </a:rPr>
              <a:t>(с передачей </a:t>
            </a:r>
            <a:r>
              <a:rPr lang="ru-RU" sz="2400" b="1" kern="0" dirty="0" smtClean="0">
                <a:solidFill>
                  <a:srgbClr val="00529F"/>
                </a:solidFill>
                <a:ea typeface="+mn-ea"/>
              </a:rPr>
              <a:t>онлайн</a:t>
            </a:r>
            <a:r>
              <a:rPr lang="ru-RU" sz="2400" b="1" kern="0" dirty="0">
                <a:solidFill>
                  <a:srgbClr val="00529F"/>
                </a:solidFill>
                <a:ea typeface="+mn-ea"/>
              </a:rPr>
              <a:t>)</a:t>
            </a: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912" y="1250973"/>
            <a:ext cx="1345692" cy="2575407"/>
          </a:xfrm>
          <a:prstGeom prst="rect">
            <a:avLst/>
          </a:prstGeom>
          <a:solidFill>
            <a:sysClr val="windowText" lastClr="000000"/>
          </a:solidFill>
          <a:ln>
            <a:solidFill>
              <a:srgbClr val="4F81BD"/>
            </a:solidFill>
          </a:ln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8292" y="1250973"/>
            <a:ext cx="1305340" cy="2575407"/>
          </a:xfrm>
          <a:prstGeom prst="rect">
            <a:avLst/>
          </a:prstGeom>
          <a:ln>
            <a:solidFill>
              <a:srgbClr val="4F81BD"/>
            </a:solidFill>
          </a:ln>
        </p:spPr>
      </p:pic>
      <p:sp>
        <p:nvSpPr>
          <p:cNvPr id="22" name="Прямоугольник 21"/>
          <p:cNvSpPr/>
          <p:nvPr/>
        </p:nvSpPr>
        <p:spPr>
          <a:xfrm>
            <a:off x="2356622" y="1237786"/>
            <a:ext cx="318208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Почтальон открывает приложение, выбирает «Анкетирование» и передает смартфон респонденту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6894223" y="1250973"/>
            <a:ext cx="3263376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Респондент начинает </a:t>
            </a: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процедуру </a:t>
            </a: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опроса с согласия на обработку персональных данных  и подтверждением возраста</a:t>
            </a: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Респондент самостоятельно заполняет персональные  данные в приложении. Список данных респондента может изменяться в зависимости от заявки Заказчика</a:t>
            </a:r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3296" y="4051612"/>
            <a:ext cx="1340493" cy="2578890"/>
          </a:xfrm>
          <a:prstGeom prst="rect">
            <a:avLst/>
          </a:prstGeom>
          <a:ln>
            <a:solidFill>
              <a:srgbClr val="4F81BD"/>
            </a:solidFill>
          </a:ln>
        </p:spPr>
      </p:pic>
      <p:sp>
        <p:nvSpPr>
          <p:cNvPr id="25" name="Прямоугольник 24"/>
          <p:cNvSpPr/>
          <p:nvPr/>
        </p:nvSpPr>
        <p:spPr>
          <a:xfrm>
            <a:off x="3780524" y="4051612"/>
            <a:ext cx="316393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Респондент отвечает на вопросы анкеты</a:t>
            </a:r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2956" y="4056086"/>
            <a:ext cx="1347513" cy="2578890"/>
          </a:xfrm>
          <a:prstGeom prst="rect">
            <a:avLst/>
          </a:prstGeom>
          <a:ln>
            <a:solidFill>
              <a:srgbClr val="4F81BD"/>
            </a:solidFill>
          </a:ln>
        </p:spPr>
      </p:pic>
      <p:sp>
        <p:nvSpPr>
          <p:cNvPr id="27" name="Прямоугольник 26"/>
          <p:cNvSpPr/>
          <p:nvPr/>
        </p:nvSpPr>
        <p:spPr>
          <a:xfrm>
            <a:off x="8320893" y="4041099"/>
            <a:ext cx="3242457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4. </a:t>
            </a: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По окончании опроса респондент сохраняет результат и передает смартфон почтальону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Почтальон отправляет результаты и закрывает приложение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5. </a:t>
            </a: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Передача результатов анкетирования по защищенным каналам (</a:t>
            </a:r>
            <a:r>
              <a:rPr kumimoji="0" lang="en-US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ViPNET</a:t>
            </a: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355836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67508" y="124251"/>
            <a:ext cx="9895842" cy="622881"/>
          </a:xfrm>
        </p:spPr>
        <p:txBody>
          <a:bodyPr>
            <a:noAutofit/>
          </a:bodyPr>
          <a:lstStyle/>
          <a:p>
            <a:r>
              <a:rPr lang="ru-RU" sz="2400" b="1" dirty="0" smtClean="0">
                <a:solidFill>
                  <a:srgbClr val="00529F"/>
                </a:solidFill>
              </a:rPr>
              <a:t>Оформление и контроль опросов в личном кабинете заказчика</a:t>
            </a:r>
            <a:endParaRPr lang="ru-RU" sz="2400" b="1" dirty="0">
              <a:solidFill>
                <a:srgbClr val="00529F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4400" y="939867"/>
            <a:ext cx="10459843" cy="4283089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643638" y="5415691"/>
            <a:ext cx="11187806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личном кабинете отображается 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аткая справочная информация по опросу, а также прикрепленные к нему файлы: скан-копия договора, </a:t>
            </a:r>
            <a:r>
              <a:rPr lang="ru-RU" sz="14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рма анкеты 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другие приложения к договору на оказание услуги по проведению опроса. </a:t>
            </a:r>
            <a:r>
              <a:rPr lang="ru-RU" sz="14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айлы можно скачать 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необходимости.</a:t>
            </a:r>
          </a:p>
          <a:p>
            <a:r>
              <a:rPr lang="ru-RU" sz="14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оме </a:t>
            </a:r>
            <a:r>
              <a:rPr lang="ru-RU" sz="14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го, </a:t>
            </a:r>
            <a:r>
              <a:rPr lang="ru-RU" sz="14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ерез личный кабинет можно 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учить отчет </a:t>
            </a:r>
            <a:r>
              <a:rPr lang="ru-RU" sz="14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 количестве заполненных анкет и результаты анкетирования в реальном времени.</a:t>
            </a:r>
            <a:endParaRPr lang="ru-RU" sz="14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4890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67508" y="124251"/>
            <a:ext cx="9895842" cy="511369"/>
          </a:xfrm>
        </p:spPr>
        <p:txBody>
          <a:bodyPr>
            <a:normAutofit fontScale="90000"/>
          </a:bodyPr>
          <a:lstStyle/>
          <a:p>
            <a:pPr marL="12700" lvl="0" defTabSz="457200">
              <a:lnSpc>
                <a:spcPct val="100000"/>
              </a:lnSpc>
              <a:spcBef>
                <a:spcPts val="100"/>
              </a:spcBef>
            </a:pPr>
            <a:r>
              <a:rPr lang="ru-RU" sz="2700" b="1" spc="-45" dirty="0" smtClean="0">
                <a:solidFill>
                  <a:srgbClr val="00529F"/>
                </a:solidFill>
                <a:ea typeface="+mn-ea"/>
              </a:rPr>
              <a:t>Возможные сегменты целевой аудитории</a:t>
            </a:r>
            <a:r>
              <a:rPr lang="ru-RU" sz="1800" spc="-95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/>
            </a:r>
            <a:br>
              <a:rPr lang="ru-RU" sz="1800" spc="-95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</a:br>
            <a:endParaRPr lang="ru-RU" sz="1800" spc="-95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  <p:cxnSp>
        <p:nvCxnSpPr>
          <p:cNvPr id="3" name="Straight Connector 25"/>
          <p:cNvCxnSpPr/>
          <p:nvPr/>
        </p:nvCxnSpPr>
        <p:spPr>
          <a:xfrm flipH="1">
            <a:off x="8312946" y="1283357"/>
            <a:ext cx="28962" cy="4561721"/>
          </a:xfrm>
          <a:prstGeom prst="line">
            <a:avLst/>
          </a:prstGeom>
          <a:noFill/>
          <a:ln w="19050" cap="rnd" cmpd="sng" algn="ctr">
            <a:solidFill>
              <a:srgbClr val="5D78D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4" name="Прямоугольник 3"/>
          <p:cNvSpPr/>
          <p:nvPr/>
        </p:nvSpPr>
        <p:spPr>
          <a:xfrm>
            <a:off x="8338704" y="1762755"/>
            <a:ext cx="3725684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2800" dirty="0" smtClean="0">
                <a:solidFill>
                  <a:srgbClr val="00529F"/>
                </a:solidFill>
                <a:latin typeface="Arial"/>
              </a:rPr>
              <a:t>У Почты России есть возможность </a:t>
            </a:r>
            <a:r>
              <a:rPr lang="ru-RU" sz="2800" b="1" dirty="0" smtClean="0">
                <a:solidFill>
                  <a:srgbClr val="00529F"/>
                </a:solidFill>
                <a:latin typeface="Arial"/>
              </a:rPr>
              <a:t>сегментировать </a:t>
            </a:r>
            <a:r>
              <a:rPr lang="ru-RU" sz="2800" dirty="0" smtClean="0">
                <a:solidFill>
                  <a:srgbClr val="00529F"/>
                </a:solidFill>
                <a:latin typeface="Arial"/>
              </a:rPr>
              <a:t>свою клиентскую базу </a:t>
            </a:r>
            <a:r>
              <a:rPr lang="ru-RU" sz="2800" b="1" dirty="0" smtClean="0">
                <a:solidFill>
                  <a:srgbClr val="00529F"/>
                </a:solidFill>
                <a:latin typeface="Arial"/>
              </a:rPr>
              <a:t>по различным критериям</a:t>
            </a:r>
            <a:endParaRPr lang="ru-RU" sz="2800" b="1" dirty="0">
              <a:solidFill>
                <a:prstClr val="white"/>
              </a:solidFill>
              <a:latin typeface="Arial"/>
            </a:endParaRPr>
          </a:p>
        </p:txBody>
      </p:sp>
      <p:grpSp>
        <p:nvGrpSpPr>
          <p:cNvPr id="62" name="Группа 61"/>
          <p:cNvGrpSpPr/>
          <p:nvPr/>
        </p:nvGrpSpPr>
        <p:grpSpPr>
          <a:xfrm>
            <a:off x="5221248" y="1071756"/>
            <a:ext cx="827227" cy="1079535"/>
            <a:chOff x="4833358" y="3678955"/>
            <a:chExt cx="827227" cy="1079535"/>
          </a:xfrm>
        </p:grpSpPr>
        <p:sp>
          <p:nvSpPr>
            <p:cNvPr id="10" name="object 6"/>
            <p:cNvSpPr txBox="1"/>
            <p:nvPr/>
          </p:nvSpPr>
          <p:spPr>
            <a:xfrm>
              <a:off x="4833358" y="4510986"/>
              <a:ext cx="827227" cy="247504"/>
            </a:xfrm>
            <a:prstGeom prst="rect">
              <a:avLst/>
            </a:prstGeom>
          </p:spPr>
          <p:txBody>
            <a:bodyPr vert="horz" wrap="square" lIns="0" tIns="31750" rIns="0" bIns="0" rtlCol="0" anchor="ctr">
              <a:sp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12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2">
                      <a:lumMod val="75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женщины</a:t>
              </a:r>
              <a:endParaRPr kumimoji="0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object 40"/>
            <p:cNvSpPr/>
            <p:nvPr/>
          </p:nvSpPr>
          <p:spPr>
            <a:xfrm>
              <a:off x="4978202" y="3678955"/>
              <a:ext cx="542609" cy="805589"/>
            </a:xfrm>
            <a:prstGeom prst="rect">
              <a:avLst/>
            </a:prstGeom>
            <a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 anchor="ctr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61" name="Группа 60"/>
          <p:cNvGrpSpPr/>
          <p:nvPr/>
        </p:nvGrpSpPr>
        <p:grpSpPr>
          <a:xfrm>
            <a:off x="3394766" y="1071756"/>
            <a:ext cx="933786" cy="1078655"/>
            <a:chOff x="3616793" y="3673943"/>
            <a:chExt cx="933786" cy="1078655"/>
          </a:xfrm>
        </p:grpSpPr>
        <p:sp>
          <p:nvSpPr>
            <p:cNvPr id="9" name="object 5"/>
            <p:cNvSpPr txBox="1"/>
            <p:nvPr/>
          </p:nvSpPr>
          <p:spPr>
            <a:xfrm>
              <a:off x="3616793" y="4505094"/>
              <a:ext cx="933786" cy="247504"/>
            </a:xfrm>
            <a:prstGeom prst="rect">
              <a:avLst/>
            </a:prstGeom>
          </p:spPr>
          <p:txBody>
            <a:bodyPr vert="horz" wrap="square" lIns="0" tIns="31750" rIns="0" bIns="0" rtlCol="0" anchor="ctr">
              <a:sp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12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2">
                      <a:lumMod val="75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мужчины</a:t>
              </a:r>
              <a:endParaRPr kumimoji="0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object 41"/>
            <p:cNvSpPr/>
            <p:nvPr/>
          </p:nvSpPr>
          <p:spPr>
            <a:xfrm>
              <a:off x="3814804" y="3673943"/>
              <a:ext cx="537765" cy="802999"/>
            </a:xfrm>
            <a:prstGeom prst="rect">
              <a:avLst/>
            </a:prstGeom>
            <a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 anchor="ctr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3" name="Группа 42"/>
          <p:cNvGrpSpPr/>
          <p:nvPr/>
        </p:nvGrpSpPr>
        <p:grpSpPr>
          <a:xfrm>
            <a:off x="1384556" y="1955537"/>
            <a:ext cx="1042575" cy="1078841"/>
            <a:chOff x="568712" y="3676366"/>
            <a:chExt cx="1042575" cy="1078841"/>
          </a:xfrm>
        </p:grpSpPr>
        <p:sp>
          <p:nvSpPr>
            <p:cNvPr id="7" name="object 3"/>
            <p:cNvSpPr txBox="1"/>
            <p:nvPr/>
          </p:nvSpPr>
          <p:spPr>
            <a:xfrm>
              <a:off x="716517" y="4492315"/>
              <a:ext cx="827227" cy="262892"/>
            </a:xfrm>
            <a:prstGeom prst="rect">
              <a:avLst/>
            </a:prstGeom>
          </p:spPr>
          <p:txBody>
            <a:bodyPr vert="horz" wrap="square" lIns="0" tIns="31750" rIns="0" bIns="0" rtlCol="0">
              <a:sp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12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5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797978"/>
                  </a:solidFill>
                  <a:effectLst/>
                  <a:uLnTx/>
                  <a:uFillTx/>
                  <a:latin typeface="Arial"/>
                  <a:cs typeface="Arial"/>
                </a:rPr>
                <a:t>семьи</a:t>
              </a:r>
              <a:endParaRPr kumimoji="0" sz="15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18" name="object 66"/>
            <p:cNvSpPr/>
            <p:nvPr/>
          </p:nvSpPr>
          <p:spPr>
            <a:xfrm>
              <a:off x="1068678" y="3681546"/>
              <a:ext cx="542609" cy="805589"/>
            </a:xfrm>
            <a:prstGeom prst="rect">
              <a:avLst/>
            </a:prstGeom>
            <a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object 67"/>
            <p:cNvSpPr/>
            <p:nvPr/>
          </p:nvSpPr>
          <p:spPr>
            <a:xfrm>
              <a:off x="568712" y="3676366"/>
              <a:ext cx="755777" cy="808179"/>
            </a:xfrm>
            <a:prstGeom prst="rect">
              <a:avLst/>
            </a:prstGeom>
            <a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64" name="Группа 63"/>
          <p:cNvGrpSpPr/>
          <p:nvPr/>
        </p:nvGrpSpPr>
        <p:grpSpPr>
          <a:xfrm>
            <a:off x="6581864" y="4195934"/>
            <a:ext cx="1313069" cy="742098"/>
            <a:chOff x="7215359" y="3934344"/>
            <a:chExt cx="1313069" cy="742098"/>
          </a:xfrm>
        </p:grpSpPr>
        <p:sp>
          <p:nvSpPr>
            <p:cNvPr id="6" name="object 23"/>
            <p:cNvSpPr/>
            <p:nvPr/>
          </p:nvSpPr>
          <p:spPr>
            <a:xfrm>
              <a:off x="7395539" y="3934344"/>
              <a:ext cx="992369" cy="429870"/>
            </a:xfrm>
            <a:custGeom>
              <a:avLst/>
              <a:gdLst/>
              <a:ahLst/>
              <a:cxnLst/>
              <a:rect l="l" t="t" r="r" b="b"/>
              <a:pathLst>
                <a:path w="1247775" h="505459">
                  <a:moveTo>
                    <a:pt x="826981" y="0"/>
                  </a:moveTo>
                  <a:lnTo>
                    <a:pt x="765299" y="753"/>
                  </a:lnTo>
                  <a:lnTo>
                    <a:pt x="711291" y="2380"/>
                  </a:lnTo>
                  <a:lnTo>
                    <a:pt x="669083" y="4703"/>
                  </a:lnTo>
                  <a:lnTo>
                    <a:pt x="611158" y="11588"/>
                  </a:lnTo>
                  <a:lnTo>
                    <a:pt x="561522" y="22883"/>
                  </a:lnTo>
                  <a:lnTo>
                    <a:pt x="517699" y="38695"/>
                  </a:lnTo>
                  <a:lnTo>
                    <a:pt x="477213" y="59134"/>
                  </a:lnTo>
                  <a:lnTo>
                    <a:pt x="437588" y="84307"/>
                  </a:lnTo>
                  <a:lnTo>
                    <a:pt x="392388" y="121355"/>
                  </a:lnTo>
                  <a:lnTo>
                    <a:pt x="357225" y="158300"/>
                  </a:lnTo>
                  <a:lnTo>
                    <a:pt x="332678" y="187259"/>
                  </a:lnTo>
                  <a:lnTo>
                    <a:pt x="319325" y="200347"/>
                  </a:lnTo>
                  <a:lnTo>
                    <a:pt x="297200" y="204235"/>
                  </a:lnTo>
                  <a:lnTo>
                    <a:pt x="202509" y="218319"/>
                  </a:lnTo>
                  <a:lnTo>
                    <a:pt x="154530" y="227258"/>
                  </a:lnTo>
                  <a:lnTo>
                    <a:pt x="117260" y="236070"/>
                  </a:lnTo>
                  <a:lnTo>
                    <a:pt x="70037" y="250973"/>
                  </a:lnTo>
                  <a:lnTo>
                    <a:pt x="40125" y="276509"/>
                  </a:lnTo>
                  <a:lnTo>
                    <a:pt x="18894" y="324210"/>
                  </a:lnTo>
                  <a:lnTo>
                    <a:pt x="6562" y="330382"/>
                  </a:lnTo>
                  <a:lnTo>
                    <a:pt x="3768" y="337100"/>
                  </a:lnTo>
                  <a:lnTo>
                    <a:pt x="1362" y="353489"/>
                  </a:lnTo>
                  <a:lnTo>
                    <a:pt x="0" y="386219"/>
                  </a:lnTo>
                  <a:lnTo>
                    <a:pt x="2147" y="425781"/>
                  </a:lnTo>
                  <a:lnTo>
                    <a:pt x="33366" y="487129"/>
                  </a:lnTo>
                  <a:lnTo>
                    <a:pt x="89773" y="504982"/>
                  </a:lnTo>
                  <a:lnTo>
                    <a:pt x="1014904" y="504982"/>
                  </a:lnTo>
                  <a:lnTo>
                    <a:pt x="1060342" y="501184"/>
                  </a:lnTo>
                  <a:lnTo>
                    <a:pt x="1125116" y="492263"/>
                  </a:lnTo>
                  <a:lnTo>
                    <a:pt x="1185159" y="481922"/>
                  </a:lnTo>
                  <a:lnTo>
                    <a:pt x="1225205" y="466077"/>
                  </a:lnTo>
                  <a:lnTo>
                    <a:pt x="1244083" y="423969"/>
                  </a:lnTo>
                  <a:lnTo>
                    <a:pt x="1247313" y="381427"/>
                  </a:lnTo>
                  <a:lnTo>
                    <a:pt x="1247505" y="367098"/>
                  </a:lnTo>
                  <a:lnTo>
                    <a:pt x="1244136" y="357480"/>
                  </a:lnTo>
                  <a:lnTo>
                    <a:pt x="1237530" y="345659"/>
                  </a:lnTo>
                  <a:lnTo>
                    <a:pt x="1231079" y="332577"/>
                  </a:lnTo>
                  <a:lnTo>
                    <a:pt x="1228175" y="319181"/>
                  </a:lnTo>
                  <a:lnTo>
                    <a:pt x="1228175" y="209034"/>
                  </a:lnTo>
                  <a:lnTo>
                    <a:pt x="1213888" y="207357"/>
                  </a:lnTo>
                  <a:lnTo>
                    <a:pt x="1182458" y="121553"/>
                  </a:lnTo>
                  <a:lnTo>
                    <a:pt x="1154755" y="62666"/>
                  </a:lnTo>
                  <a:lnTo>
                    <a:pt x="1127286" y="23779"/>
                  </a:lnTo>
                  <a:lnTo>
                    <a:pt x="1067974" y="9277"/>
                  </a:lnTo>
                  <a:lnTo>
                    <a:pt x="1016835" y="4759"/>
                  </a:lnTo>
                  <a:lnTo>
                    <a:pt x="956874" y="1825"/>
                  </a:lnTo>
                  <a:lnTo>
                    <a:pt x="892215" y="298"/>
                  </a:lnTo>
                  <a:lnTo>
                    <a:pt x="826981" y="0"/>
                  </a:lnTo>
                  <a:close/>
                </a:path>
              </a:pathLst>
            </a:custGeom>
            <a:solidFill>
              <a:srgbClr val="2CA8DF"/>
            </a:solidFill>
          </p:spPr>
          <p:txBody>
            <a:bodyPr wrap="square" lIns="0" tIns="0" rIns="0" bIns="0" rtlCol="0" anchor="ctr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object 9"/>
            <p:cNvSpPr txBox="1"/>
            <p:nvPr/>
          </p:nvSpPr>
          <p:spPr>
            <a:xfrm>
              <a:off x="7215359" y="4428938"/>
              <a:ext cx="1313069" cy="247504"/>
            </a:xfrm>
            <a:prstGeom prst="rect">
              <a:avLst/>
            </a:prstGeom>
          </p:spPr>
          <p:txBody>
            <a:bodyPr vert="horz" wrap="square" lIns="0" tIns="31750" rIns="0" bIns="0" rtlCol="0" anchor="ctr">
              <a:sp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12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0" cap="none" spc="-5" normalizeH="0" baseline="0" noProof="0" dirty="0" smtClean="0">
                  <a:ln>
                    <a:noFill/>
                  </a:ln>
                  <a:solidFill>
                    <a:schemeClr val="tx2">
                      <a:lumMod val="75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автовладельцы</a:t>
              </a:r>
              <a:endParaRPr kumimoji="0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object 31"/>
            <p:cNvSpPr/>
            <p:nvPr/>
          </p:nvSpPr>
          <p:spPr>
            <a:xfrm>
              <a:off x="7651747" y="3952639"/>
              <a:ext cx="273722" cy="173352"/>
            </a:xfrm>
            <a:custGeom>
              <a:avLst/>
              <a:gdLst/>
              <a:ahLst/>
              <a:cxnLst/>
              <a:rect l="l" t="t" r="r" b="b"/>
              <a:pathLst>
                <a:path w="344170" h="203834">
                  <a:moveTo>
                    <a:pt x="323847" y="0"/>
                  </a:moveTo>
                  <a:lnTo>
                    <a:pt x="249905" y="4127"/>
                  </a:lnTo>
                  <a:lnTo>
                    <a:pt x="202814" y="10949"/>
                  </a:lnTo>
                  <a:lnTo>
                    <a:pt x="154905" y="30410"/>
                  </a:lnTo>
                  <a:lnTo>
                    <a:pt x="97442" y="66435"/>
                  </a:lnTo>
                  <a:lnTo>
                    <a:pt x="68880" y="94530"/>
                  </a:lnTo>
                  <a:lnTo>
                    <a:pt x="40027" y="131085"/>
                  </a:lnTo>
                  <a:lnTo>
                    <a:pt x="16691" y="163801"/>
                  </a:lnTo>
                  <a:lnTo>
                    <a:pt x="4681" y="180380"/>
                  </a:lnTo>
                  <a:lnTo>
                    <a:pt x="939" y="186538"/>
                  </a:lnTo>
                  <a:lnTo>
                    <a:pt x="0" y="194310"/>
                  </a:lnTo>
                  <a:lnTo>
                    <a:pt x="4029" y="200898"/>
                  </a:lnTo>
                  <a:lnTo>
                    <a:pt x="15197" y="203506"/>
                  </a:lnTo>
                  <a:lnTo>
                    <a:pt x="309443" y="186273"/>
                  </a:lnTo>
                  <a:lnTo>
                    <a:pt x="314822" y="183928"/>
                  </a:lnTo>
                  <a:lnTo>
                    <a:pt x="317754" y="178548"/>
                  </a:lnTo>
                  <a:lnTo>
                    <a:pt x="319264" y="170724"/>
                  </a:lnTo>
                  <a:lnTo>
                    <a:pt x="320378" y="161050"/>
                  </a:lnTo>
                  <a:lnTo>
                    <a:pt x="324021" y="134601"/>
                  </a:lnTo>
                  <a:lnTo>
                    <a:pt x="330577" y="89064"/>
                  </a:lnTo>
                  <a:lnTo>
                    <a:pt x="337289" y="43921"/>
                  </a:lnTo>
                  <a:lnTo>
                    <a:pt x="341396" y="18658"/>
                  </a:lnTo>
                  <a:lnTo>
                    <a:pt x="343923" y="6885"/>
                  </a:lnTo>
                  <a:lnTo>
                    <a:pt x="343923" y="1843"/>
                  </a:lnTo>
                  <a:lnTo>
                    <a:pt x="338462" y="586"/>
                  </a:lnTo>
                  <a:lnTo>
                    <a:pt x="323847" y="0"/>
                  </a:lnTo>
                  <a:close/>
                </a:path>
              </a:pathLst>
            </a:custGeom>
            <a:solidFill>
              <a:srgbClr val="0055A6"/>
            </a:solidFill>
          </p:spPr>
          <p:txBody>
            <a:bodyPr wrap="square" lIns="0" tIns="0" rIns="0" bIns="0" rtlCol="0" anchor="ctr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object 27"/>
            <p:cNvSpPr/>
            <p:nvPr/>
          </p:nvSpPr>
          <p:spPr>
            <a:xfrm>
              <a:off x="7451012" y="4260070"/>
              <a:ext cx="171172" cy="183051"/>
            </a:xfrm>
            <a:prstGeom prst="rect">
              <a:avLst/>
            </a:prstGeom>
            <a:blipFill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 anchor="ctr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object 28"/>
            <p:cNvSpPr/>
            <p:nvPr/>
          </p:nvSpPr>
          <p:spPr>
            <a:xfrm>
              <a:off x="8173163" y="4260070"/>
              <a:ext cx="171172" cy="183051"/>
            </a:xfrm>
            <a:prstGeom prst="rect">
              <a:avLst/>
            </a:prstGeom>
            <a:blipFill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 anchor="ctr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object 32"/>
            <p:cNvSpPr/>
            <p:nvPr/>
          </p:nvSpPr>
          <p:spPr>
            <a:xfrm>
              <a:off x="7993985" y="3950996"/>
              <a:ext cx="220190" cy="157151"/>
            </a:xfrm>
            <a:custGeom>
              <a:avLst/>
              <a:gdLst/>
              <a:ahLst/>
              <a:cxnLst/>
              <a:rect l="l" t="t" r="r" b="b"/>
              <a:pathLst>
                <a:path w="276860" h="184784">
                  <a:moveTo>
                    <a:pt x="19456" y="0"/>
                  </a:moveTo>
                  <a:lnTo>
                    <a:pt x="10334" y="90371"/>
                  </a:lnTo>
                  <a:lnTo>
                    <a:pt x="4876" y="141385"/>
                  </a:lnTo>
                  <a:lnTo>
                    <a:pt x="0" y="181902"/>
                  </a:lnTo>
                  <a:lnTo>
                    <a:pt x="8407" y="184429"/>
                  </a:lnTo>
                  <a:lnTo>
                    <a:pt x="264413" y="172656"/>
                  </a:lnTo>
                  <a:lnTo>
                    <a:pt x="271154" y="171211"/>
                  </a:lnTo>
                  <a:lnTo>
                    <a:pt x="275134" y="167085"/>
                  </a:lnTo>
                  <a:lnTo>
                    <a:pt x="276592" y="160596"/>
                  </a:lnTo>
                  <a:lnTo>
                    <a:pt x="275767" y="152057"/>
                  </a:lnTo>
                  <a:lnTo>
                    <a:pt x="259945" y="96945"/>
                  </a:lnTo>
                  <a:lnTo>
                    <a:pt x="236245" y="37414"/>
                  </a:lnTo>
                  <a:lnTo>
                    <a:pt x="201960" y="10162"/>
                  </a:lnTo>
                  <a:lnTo>
                    <a:pt x="159883" y="5206"/>
                  </a:lnTo>
                  <a:lnTo>
                    <a:pt x="29006" y="254"/>
                  </a:lnTo>
                  <a:lnTo>
                    <a:pt x="19456" y="0"/>
                  </a:lnTo>
                  <a:close/>
                </a:path>
              </a:pathLst>
            </a:custGeom>
            <a:solidFill>
              <a:srgbClr val="0055A6"/>
            </a:solidFill>
          </p:spPr>
          <p:txBody>
            <a:bodyPr wrap="square" lIns="0" tIns="0" rIns="0" bIns="0" rtlCol="0" anchor="ctr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object 34"/>
            <p:cNvSpPr/>
            <p:nvPr/>
          </p:nvSpPr>
          <p:spPr>
            <a:xfrm>
              <a:off x="8378055" y="4075443"/>
              <a:ext cx="49492" cy="140410"/>
            </a:xfrm>
            <a:custGeom>
              <a:avLst/>
              <a:gdLst/>
              <a:ahLst/>
              <a:cxnLst/>
              <a:rect l="l" t="t" r="r" b="b"/>
              <a:pathLst>
                <a:path w="62229" h="165100">
                  <a:moveTo>
                    <a:pt x="54787" y="0"/>
                  </a:moveTo>
                  <a:lnTo>
                    <a:pt x="7099" y="0"/>
                  </a:lnTo>
                  <a:lnTo>
                    <a:pt x="0" y="7099"/>
                  </a:lnTo>
                  <a:lnTo>
                    <a:pt x="0" y="157518"/>
                  </a:lnTo>
                  <a:lnTo>
                    <a:pt x="7099" y="164630"/>
                  </a:lnTo>
                  <a:lnTo>
                    <a:pt x="54787" y="164630"/>
                  </a:lnTo>
                  <a:lnTo>
                    <a:pt x="61887" y="157518"/>
                  </a:lnTo>
                  <a:lnTo>
                    <a:pt x="61887" y="7099"/>
                  </a:lnTo>
                  <a:lnTo>
                    <a:pt x="54787" y="0"/>
                  </a:lnTo>
                  <a:close/>
                </a:path>
              </a:pathLst>
            </a:custGeom>
            <a:solidFill>
              <a:srgbClr val="0055A6"/>
            </a:solidFill>
          </p:spPr>
          <p:txBody>
            <a:bodyPr wrap="square" lIns="0" tIns="0" rIns="0" bIns="0" rtlCol="0" anchor="ctr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67" name="Группа 66"/>
          <p:cNvGrpSpPr/>
          <p:nvPr/>
        </p:nvGrpSpPr>
        <p:grpSpPr>
          <a:xfrm>
            <a:off x="1109299" y="3829966"/>
            <a:ext cx="1322774" cy="1108066"/>
            <a:chOff x="1936043" y="3658619"/>
            <a:chExt cx="1322774" cy="1108066"/>
          </a:xfrm>
        </p:grpSpPr>
        <p:sp>
          <p:nvSpPr>
            <p:cNvPr id="28" name="object 50"/>
            <p:cNvSpPr/>
            <p:nvPr/>
          </p:nvSpPr>
          <p:spPr>
            <a:xfrm>
              <a:off x="2631688" y="3947532"/>
              <a:ext cx="209116" cy="290531"/>
            </a:xfrm>
            <a:custGeom>
              <a:avLst/>
              <a:gdLst/>
              <a:ahLst/>
              <a:cxnLst/>
              <a:rect l="l" t="t" r="r" b="b"/>
              <a:pathLst>
                <a:path w="323214" h="330835">
                  <a:moveTo>
                    <a:pt x="323062" y="0"/>
                  </a:moveTo>
                  <a:lnTo>
                    <a:pt x="0" y="0"/>
                  </a:lnTo>
                  <a:lnTo>
                    <a:pt x="0" y="169138"/>
                  </a:lnTo>
                  <a:lnTo>
                    <a:pt x="5770" y="212084"/>
                  </a:lnTo>
                  <a:lnTo>
                    <a:pt x="22055" y="250675"/>
                  </a:lnTo>
                  <a:lnTo>
                    <a:pt x="47313" y="283373"/>
                  </a:lnTo>
                  <a:lnTo>
                    <a:pt x="80006" y="308636"/>
                  </a:lnTo>
                  <a:lnTo>
                    <a:pt x="118592" y="324923"/>
                  </a:lnTo>
                  <a:lnTo>
                    <a:pt x="161531" y="330695"/>
                  </a:lnTo>
                  <a:lnTo>
                    <a:pt x="204479" y="324923"/>
                  </a:lnTo>
                  <a:lnTo>
                    <a:pt x="243067" y="308636"/>
                  </a:lnTo>
                  <a:lnTo>
                    <a:pt x="275758" y="283373"/>
                  </a:lnTo>
                  <a:lnTo>
                    <a:pt x="301013" y="250675"/>
                  </a:lnTo>
                  <a:lnTo>
                    <a:pt x="317293" y="212084"/>
                  </a:lnTo>
                  <a:lnTo>
                    <a:pt x="323062" y="169138"/>
                  </a:lnTo>
                  <a:lnTo>
                    <a:pt x="32306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 anchor="ctr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object 50"/>
            <p:cNvSpPr/>
            <p:nvPr/>
          </p:nvSpPr>
          <p:spPr>
            <a:xfrm>
              <a:off x="2458271" y="3977042"/>
              <a:ext cx="257056" cy="281360"/>
            </a:xfrm>
            <a:custGeom>
              <a:avLst/>
              <a:gdLst/>
              <a:ahLst/>
              <a:cxnLst/>
              <a:rect l="l" t="t" r="r" b="b"/>
              <a:pathLst>
                <a:path w="323214" h="330835">
                  <a:moveTo>
                    <a:pt x="323062" y="0"/>
                  </a:moveTo>
                  <a:lnTo>
                    <a:pt x="0" y="0"/>
                  </a:lnTo>
                  <a:lnTo>
                    <a:pt x="0" y="169138"/>
                  </a:lnTo>
                  <a:lnTo>
                    <a:pt x="5770" y="212084"/>
                  </a:lnTo>
                  <a:lnTo>
                    <a:pt x="22055" y="250675"/>
                  </a:lnTo>
                  <a:lnTo>
                    <a:pt x="47313" y="283373"/>
                  </a:lnTo>
                  <a:lnTo>
                    <a:pt x="80006" y="308636"/>
                  </a:lnTo>
                  <a:lnTo>
                    <a:pt x="118592" y="324923"/>
                  </a:lnTo>
                  <a:lnTo>
                    <a:pt x="161531" y="330695"/>
                  </a:lnTo>
                  <a:lnTo>
                    <a:pt x="204479" y="324923"/>
                  </a:lnTo>
                  <a:lnTo>
                    <a:pt x="243067" y="308636"/>
                  </a:lnTo>
                  <a:lnTo>
                    <a:pt x="275758" y="283373"/>
                  </a:lnTo>
                  <a:lnTo>
                    <a:pt x="301013" y="250675"/>
                  </a:lnTo>
                  <a:lnTo>
                    <a:pt x="317293" y="212084"/>
                  </a:lnTo>
                  <a:lnTo>
                    <a:pt x="323062" y="169138"/>
                  </a:lnTo>
                  <a:lnTo>
                    <a:pt x="32306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 anchor="ctr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object 52"/>
            <p:cNvSpPr/>
            <p:nvPr/>
          </p:nvSpPr>
          <p:spPr>
            <a:xfrm>
              <a:off x="2502313" y="4064856"/>
              <a:ext cx="52522" cy="25922"/>
            </a:xfrm>
            <a:custGeom>
              <a:avLst/>
              <a:gdLst/>
              <a:ahLst/>
              <a:cxnLst/>
              <a:rect l="l" t="t" r="r" b="b"/>
              <a:pathLst>
                <a:path w="66039" h="30480">
                  <a:moveTo>
                    <a:pt x="33032" y="0"/>
                  </a:moveTo>
                  <a:lnTo>
                    <a:pt x="21727" y="1973"/>
                  </a:lnTo>
                  <a:lnTo>
                    <a:pt x="11915" y="7464"/>
                  </a:lnTo>
                  <a:lnTo>
                    <a:pt x="4404" y="15826"/>
                  </a:lnTo>
                  <a:lnTo>
                    <a:pt x="0" y="26416"/>
                  </a:lnTo>
                  <a:lnTo>
                    <a:pt x="17627" y="30365"/>
                  </a:lnTo>
                  <a:lnTo>
                    <a:pt x="19227" y="23241"/>
                  </a:lnTo>
                  <a:lnTo>
                    <a:pt x="25704" y="18059"/>
                  </a:lnTo>
                  <a:lnTo>
                    <a:pt x="62604" y="18059"/>
                  </a:lnTo>
                  <a:lnTo>
                    <a:pt x="61586" y="15612"/>
                  </a:lnTo>
                  <a:lnTo>
                    <a:pt x="54136" y="7321"/>
                  </a:lnTo>
                  <a:lnTo>
                    <a:pt x="44377" y="1926"/>
                  </a:lnTo>
                  <a:lnTo>
                    <a:pt x="33032" y="0"/>
                  </a:lnTo>
                  <a:close/>
                </a:path>
                <a:path w="66039" h="30480">
                  <a:moveTo>
                    <a:pt x="62604" y="18059"/>
                  </a:moveTo>
                  <a:lnTo>
                    <a:pt x="40424" y="18059"/>
                  </a:lnTo>
                  <a:lnTo>
                    <a:pt x="46748" y="23088"/>
                  </a:lnTo>
                  <a:lnTo>
                    <a:pt x="48399" y="30276"/>
                  </a:lnTo>
                  <a:lnTo>
                    <a:pt x="66001" y="26225"/>
                  </a:lnTo>
                  <a:lnTo>
                    <a:pt x="62604" y="18059"/>
                  </a:lnTo>
                  <a:close/>
                </a:path>
              </a:pathLst>
            </a:custGeom>
            <a:solidFill>
              <a:srgbClr val="2B1F17"/>
            </a:solidFill>
          </p:spPr>
          <p:txBody>
            <a:bodyPr wrap="square" lIns="0" tIns="0" rIns="0" bIns="0" rtlCol="0" anchor="ctr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object 53"/>
            <p:cNvSpPr/>
            <p:nvPr/>
          </p:nvSpPr>
          <p:spPr>
            <a:xfrm>
              <a:off x="2614220" y="4064853"/>
              <a:ext cx="52522" cy="25922"/>
            </a:xfrm>
            <a:custGeom>
              <a:avLst/>
              <a:gdLst/>
              <a:ahLst/>
              <a:cxnLst/>
              <a:rect l="l" t="t" r="r" b="b"/>
              <a:pathLst>
                <a:path w="66039" h="30480">
                  <a:moveTo>
                    <a:pt x="33019" y="0"/>
                  </a:moveTo>
                  <a:lnTo>
                    <a:pt x="21715" y="1975"/>
                  </a:lnTo>
                  <a:lnTo>
                    <a:pt x="11904" y="7469"/>
                  </a:lnTo>
                  <a:lnTo>
                    <a:pt x="4396" y="15832"/>
                  </a:lnTo>
                  <a:lnTo>
                    <a:pt x="0" y="26416"/>
                  </a:lnTo>
                  <a:lnTo>
                    <a:pt x="17627" y="30365"/>
                  </a:lnTo>
                  <a:lnTo>
                    <a:pt x="19227" y="23241"/>
                  </a:lnTo>
                  <a:lnTo>
                    <a:pt x="25692" y="18072"/>
                  </a:lnTo>
                  <a:lnTo>
                    <a:pt x="62596" y="18072"/>
                  </a:lnTo>
                  <a:lnTo>
                    <a:pt x="61573" y="15612"/>
                  </a:lnTo>
                  <a:lnTo>
                    <a:pt x="54124" y="7321"/>
                  </a:lnTo>
                  <a:lnTo>
                    <a:pt x="44365" y="1926"/>
                  </a:lnTo>
                  <a:lnTo>
                    <a:pt x="33019" y="0"/>
                  </a:lnTo>
                  <a:close/>
                </a:path>
                <a:path w="66039" h="30480">
                  <a:moveTo>
                    <a:pt x="62596" y="18072"/>
                  </a:moveTo>
                  <a:lnTo>
                    <a:pt x="40411" y="18072"/>
                  </a:lnTo>
                  <a:lnTo>
                    <a:pt x="46735" y="23088"/>
                  </a:lnTo>
                  <a:lnTo>
                    <a:pt x="48386" y="30276"/>
                  </a:lnTo>
                  <a:lnTo>
                    <a:pt x="65989" y="26225"/>
                  </a:lnTo>
                  <a:lnTo>
                    <a:pt x="62596" y="18072"/>
                  </a:lnTo>
                  <a:close/>
                </a:path>
              </a:pathLst>
            </a:custGeom>
            <a:solidFill>
              <a:srgbClr val="2B1F17"/>
            </a:solidFill>
          </p:spPr>
          <p:txBody>
            <a:bodyPr wrap="square" lIns="0" tIns="0" rIns="0" bIns="0" rtlCol="0" anchor="ctr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object 57"/>
            <p:cNvSpPr/>
            <p:nvPr/>
          </p:nvSpPr>
          <p:spPr>
            <a:xfrm>
              <a:off x="2552433" y="4189173"/>
              <a:ext cx="67673" cy="24302"/>
            </a:xfrm>
            <a:custGeom>
              <a:avLst/>
              <a:gdLst/>
              <a:ahLst/>
              <a:cxnLst/>
              <a:rect l="l" t="t" r="r" b="b"/>
              <a:pathLst>
                <a:path w="85089" h="28575">
                  <a:moveTo>
                    <a:pt x="11061" y="0"/>
                  </a:moveTo>
                  <a:lnTo>
                    <a:pt x="0" y="14287"/>
                  </a:lnTo>
                  <a:lnTo>
                    <a:pt x="9212" y="20157"/>
                  </a:lnTo>
                  <a:lnTo>
                    <a:pt x="19532" y="24453"/>
                  </a:lnTo>
                  <a:lnTo>
                    <a:pt x="30700" y="27092"/>
                  </a:lnTo>
                  <a:lnTo>
                    <a:pt x="42456" y="27990"/>
                  </a:lnTo>
                  <a:lnTo>
                    <a:pt x="54204" y="27092"/>
                  </a:lnTo>
                  <a:lnTo>
                    <a:pt x="65368" y="24453"/>
                  </a:lnTo>
                  <a:lnTo>
                    <a:pt x="75687" y="20157"/>
                  </a:lnTo>
                  <a:lnTo>
                    <a:pt x="84899" y="14287"/>
                  </a:lnTo>
                  <a:lnTo>
                    <a:pt x="81530" y="9931"/>
                  </a:lnTo>
                  <a:lnTo>
                    <a:pt x="42456" y="9931"/>
                  </a:lnTo>
                  <a:lnTo>
                    <a:pt x="33668" y="9277"/>
                  </a:lnTo>
                  <a:lnTo>
                    <a:pt x="25377" y="7361"/>
                  </a:lnTo>
                  <a:lnTo>
                    <a:pt x="17778" y="4246"/>
                  </a:lnTo>
                  <a:lnTo>
                    <a:pt x="11061" y="0"/>
                  </a:lnTo>
                  <a:close/>
                </a:path>
                <a:path w="85089" h="28575">
                  <a:moveTo>
                    <a:pt x="73850" y="0"/>
                  </a:moveTo>
                  <a:lnTo>
                    <a:pt x="67134" y="4246"/>
                  </a:lnTo>
                  <a:lnTo>
                    <a:pt x="59534" y="7361"/>
                  </a:lnTo>
                  <a:lnTo>
                    <a:pt x="51244" y="9277"/>
                  </a:lnTo>
                  <a:lnTo>
                    <a:pt x="42456" y="9931"/>
                  </a:lnTo>
                  <a:lnTo>
                    <a:pt x="81530" y="9931"/>
                  </a:lnTo>
                  <a:lnTo>
                    <a:pt x="73850" y="0"/>
                  </a:lnTo>
                  <a:close/>
                </a:path>
              </a:pathLst>
            </a:custGeom>
            <a:solidFill>
              <a:srgbClr val="2B1F17"/>
            </a:solidFill>
          </p:spPr>
          <p:txBody>
            <a:bodyPr wrap="square" lIns="0" tIns="0" rIns="0" bIns="0" rtlCol="0" anchor="ctr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object 58"/>
            <p:cNvSpPr/>
            <p:nvPr/>
          </p:nvSpPr>
          <p:spPr>
            <a:xfrm>
              <a:off x="2530584" y="4135966"/>
              <a:ext cx="12121" cy="12961"/>
            </a:xfrm>
            <a:custGeom>
              <a:avLst/>
              <a:gdLst/>
              <a:ahLst/>
              <a:cxnLst/>
              <a:rect l="l" t="t" r="r" b="b"/>
              <a:pathLst>
                <a:path w="15239" h="15239">
                  <a:moveTo>
                    <a:pt x="11811" y="0"/>
                  </a:moveTo>
                  <a:lnTo>
                    <a:pt x="3403" y="0"/>
                  </a:lnTo>
                  <a:lnTo>
                    <a:pt x="0" y="3403"/>
                  </a:lnTo>
                  <a:lnTo>
                    <a:pt x="0" y="11836"/>
                  </a:lnTo>
                  <a:lnTo>
                    <a:pt x="3403" y="15240"/>
                  </a:lnTo>
                  <a:lnTo>
                    <a:pt x="11811" y="15240"/>
                  </a:lnTo>
                  <a:lnTo>
                    <a:pt x="15227" y="11836"/>
                  </a:lnTo>
                  <a:lnTo>
                    <a:pt x="15227" y="3403"/>
                  </a:lnTo>
                  <a:lnTo>
                    <a:pt x="11811" y="0"/>
                  </a:lnTo>
                  <a:close/>
                </a:path>
              </a:pathLst>
            </a:custGeom>
            <a:solidFill>
              <a:srgbClr val="2B1F17"/>
            </a:solidFill>
          </p:spPr>
          <p:txBody>
            <a:bodyPr wrap="square" lIns="0" tIns="0" rIns="0" bIns="0" rtlCol="0" anchor="ctr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object 63"/>
            <p:cNvSpPr/>
            <p:nvPr/>
          </p:nvSpPr>
          <p:spPr>
            <a:xfrm>
              <a:off x="2639989" y="4155500"/>
              <a:ext cx="12121" cy="12961"/>
            </a:xfrm>
            <a:custGeom>
              <a:avLst/>
              <a:gdLst/>
              <a:ahLst/>
              <a:cxnLst/>
              <a:rect l="l" t="t" r="r" b="b"/>
              <a:pathLst>
                <a:path w="15239" h="15239">
                  <a:moveTo>
                    <a:pt x="11823" y="0"/>
                  </a:moveTo>
                  <a:lnTo>
                    <a:pt x="3416" y="0"/>
                  </a:lnTo>
                  <a:lnTo>
                    <a:pt x="0" y="3416"/>
                  </a:lnTo>
                  <a:lnTo>
                    <a:pt x="0" y="11836"/>
                  </a:lnTo>
                  <a:lnTo>
                    <a:pt x="3416" y="15240"/>
                  </a:lnTo>
                  <a:lnTo>
                    <a:pt x="11823" y="15240"/>
                  </a:lnTo>
                  <a:lnTo>
                    <a:pt x="15239" y="11836"/>
                  </a:lnTo>
                  <a:lnTo>
                    <a:pt x="15239" y="3416"/>
                  </a:lnTo>
                  <a:lnTo>
                    <a:pt x="11823" y="0"/>
                  </a:lnTo>
                  <a:close/>
                </a:path>
              </a:pathLst>
            </a:custGeom>
            <a:solidFill>
              <a:srgbClr val="2B1F17"/>
            </a:solidFill>
          </p:spPr>
          <p:txBody>
            <a:bodyPr wrap="square" lIns="0" tIns="0" rIns="0" bIns="0" rtlCol="0" anchor="ctr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object 4"/>
            <p:cNvSpPr txBox="1"/>
            <p:nvPr/>
          </p:nvSpPr>
          <p:spPr>
            <a:xfrm>
              <a:off x="1936043" y="4519181"/>
              <a:ext cx="1322774" cy="247504"/>
            </a:xfrm>
            <a:prstGeom prst="rect">
              <a:avLst/>
            </a:prstGeom>
          </p:spPr>
          <p:txBody>
            <a:bodyPr vert="horz" wrap="square" lIns="0" tIns="31750" rIns="0" bIns="0" rtlCol="0" anchor="ctr">
              <a:sp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12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400" kern="0" dirty="0" smtClean="0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емьи</a:t>
              </a:r>
              <a:r>
                <a:rPr kumimoji="0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2">
                      <a:lumMod val="75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с</a:t>
              </a:r>
              <a:r>
                <a:rPr kumimoji="0" sz="1400" b="0" i="0" u="none" strike="noStrike" kern="0" cap="none" spc="-90" normalizeH="0" baseline="0" noProof="0" dirty="0" smtClean="0">
                  <a:ln>
                    <a:noFill/>
                  </a:ln>
                  <a:solidFill>
                    <a:schemeClr val="tx2">
                      <a:lumMod val="75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kumimoji="0" sz="1400" b="0" i="0" u="none" strike="noStrike" kern="0" cap="none" spc="-10" normalizeH="0" baseline="0" noProof="0" dirty="0" smtClean="0">
                  <a:ln>
                    <a:noFill/>
                  </a:ln>
                  <a:solidFill>
                    <a:schemeClr val="tx2">
                      <a:lumMod val="75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детьми</a:t>
              </a:r>
              <a:endParaRPr kumimoji="0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object 42"/>
            <p:cNvSpPr/>
            <p:nvPr/>
          </p:nvSpPr>
          <p:spPr>
            <a:xfrm>
              <a:off x="2660784" y="3661208"/>
              <a:ext cx="542609" cy="805589"/>
            </a:xfrm>
            <a:prstGeom prst="rect">
              <a:avLst/>
            </a:prstGeom>
            <a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 anchor="ctr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object 43"/>
            <p:cNvSpPr/>
            <p:nvPr/>
          </p:nvSpPr>
          <p:spPr>
            <a:xfrm>
              <a:off x="1981467" y="3658619"/>
              <a:ext cx="755777" cy="808179"/>
            </a:xfrm>
            <a:prstGeom prst="rect">
              <a:avLst/>
            </a:prstGeom>
            <a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 anchor="ctr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object 44"/>
            <p:cNvSpPr/>
            <p:nvPr/>
          </p:nvSpPr>
          <p:spPr>
            <a:xfrm>
              <a:off x="2408554" y="4241884"/>
              <a:ext cx="386846" cy="224913"/>
            </a:xfrm>
            <a:custGeom>
              <a:avLst/>
              <a:gdLst/>
              <a:ahLst/>
              <a:cxnLst/>
              <a:rect l="l" t="t" r="r" b="b"/>
              <a:pathLst>
                <a:path w="486410" h="248919">
                  <a:moveTo>
                    <a:pt x="242181" y="0"/>
                  </a:moveTo>
                  <a:lnTo>
                    <a:pt x="188883" y="3477"/>
                  </a:lnTo>
                  <a:lnTo>
                    <a:pt x="141315" y="13680"/>
                  </a:lnTo>
                  <a:lnTo>
                    <a:pt x="99901" y="30262"/>
                  </a:lnTo>
                  <a:lnTo>
                    <a:pt x="65065" y="52881"/>
                  </a:lnTo>
                  <a:lnTo>
                    <a:pt x="37232" y="81190"/>
                  </a:lnTo>
                  <a:lnTo>
                    <a:pt x="16826" y="114844"/>
                  </a:lnTo>
                  <a:lnTo>
                    <a:pt x="4271" y="153500"/>
                  </a:lnTo>
                  <a:lnTo>
                    <a:pt x="0" y="196736"/>
                  </a:lnTo>
                  <a:lnTo>
                    <a:pt x="0" y="248385"/>
                  </a:lnTo>
                  <a:lnTo>
                    <a:pt x="485990" y="248385"/>
                  </a:lnTo>
                  <a:lnTo>
                    <a:pt x="485988" y="196736"/>
                  </a:lnTo>
                  <a:lnTo>
                    <a:pt x="481688" y="153500"/>
                  </a:lnTo>
                  <a:lnTo>
                    <a:pt x="469049" y="114844"/>
                  </a:lnTo>
                  <a:lnTo>
                    <a:pt x="448506" y="81190"/>
                  </a:lnTo>
                  <a:lnTo>
                    <a:pt x="420486" y="52881"/>
                  </a:lnTo>
                  <a:lnTo>
                    <a:pt x="385416" y="30262"/>
                  </a:lnTo>
                  <a:lnTo>
                    <a:pt x="343724" y="13680"/>
                  </a:lnTo>
                  <a:lnTo>
                    <a:pt x="295837" y="3477"/>
                  </a:lnTo>
                  <a:lnTo>
                    <a:pt x="242181" y="0"/>
                  </a:lnTo>
                  <a:close/>
                </a:path>
              </a:pathLst>
            </a:custGeom>
            <a:solidFill>
              <a:srgbClr val="006EB6"/>
            </a:solidFill>
          </p:spPr>
          <p:txBody>
            <a:bodyPr wrap="square" lIns="0" tIns="0" rIns="0" bIns="0" rtlCol="0" anchor="ctr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object 54"/>
            <p:cNvSpPr/>
            <p:nvPr/>
          </p:nvSpPr>
          <p:spPr>
            <a:xfrm>
              <a:off x="2560991" y="4126041"/>
              <a:ext cx="50502" cy="27002"/>
            </a:xfrm>
            <a:custGeom>
              <a:avLst/>
              <a:gdLst/>
              <a:ahLst/>
              <a:cxnLst/>
              <a:rect l="l" t="t" r="r" b="b"/>
              <a:pathLst>
                <a:path w="63500" h="31750">
                  <a:moveTo>
                    <a:pt x="18059" y="0"/>
                  </a:moveTo>
                  <a:lnTo>
                    <a:pt x="0" y="0"/>
                  </a:lnTo>
                  <a:lnTo>
                    <a:pt x="2497" y="12344"/>
                  </a:lnTo>
                  <a:lnTo>
                    <a:pt x="9305" y="22437"/>
                  </a:lnTo>
                  <a:lnTo>
                    <a:pt x="19395" y="29250"/>
                  </a:lnTo>
                  <a:lnTo>
                    <a:pt x="31737" y="31750"/>
                  </a:lnTo>
                  <a:lnTo>
                    <a:pt x="44081" y="29250"/>
                  </a:lnTo>
                  <a:lnTo>
                    <a:pt x="54175" y="22437"/>
                  </a:lnTo>
                  <a:lnTo>
                    <a:pt x="60087" y="13677"/>
                  </a:lnTo>
                  <a:lnTo>
                    <a:pt x="24193" y="13677"/>
                  </a:lnTo>
                  <a:lnTo>
                    <a:pt x="18059" y="7543"/>
                  </a:lnTo>
                  <a:lnTo>
                    <a:pt x="18059" y="0"/>
                  </a:lnTo>
                  <a:close/>
                </a:path>
                <a:path w="63500" h="31750">
                  <a:moveTo>
                    <a:pt x="63487" y="0"/>
                  </a:moveTo>
                  <a:lnTo>
                    <a:pt x="45427" y="0"/>
                  </a:lnTo>
                  <a:lnTo>
                    <a:pt x="45427" y="7543"/>
                  </a:lnTo>
                  <a:lnTo>
                    <a:pt x="39281" y="13677"/>
                  </a:lnTo>
                  <a:lnTo>
                    <a:pt x="60087" y="13677"/>
                  </a:lnTo>
                  <a:lnTo>
                    <a:pt x="60987" y="12344"/>
                  </a:lnTo>
                  <a:lnTo>
                    <a:pt x="63487" y="0"/>
                  </a:lnTo>
                  <a:close/>
                </a:path>
              </a:pathLst>
            </a:custGeom>
            <a:solidFill>
              <a:srgbClr val="2B1F17"/>
            </a:solidFill>
          </p:spPr>
          <p:txBody>
            <a:bodyPr wrap="square" lIns="0" tIns="0" rIns="0" bIns="0" rtlCol="0" anchor="ctr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object 64"/>
            <p:cNvSpPr/>
            <p:nvPr/>
          </p:nvSpPr>
          <p:spPr>
            <a:xfrm>
              <a:off x="2432793" y="3915184"/>
              <a:ext cx="329275" cy="187932"/>
            </a:xfrm>
            <a:custGeom>
              <a:avLst/>
              <a:gdLst/>
              <a:ahLst/>
              <a:cxnLst/>
              <a:rect l="l" t="t" r="r" b="b"/>
              <a:pathLst>
                <a:path w="414020" h="220980">
                  <a:moveTo>
                    <a:pt x="27305" y="64985"/>
                  </a:moveTo>
                  <a:lnTo>
                    <a:pt x="11736" y="70267"/>
                  </a:lnTo>
                  <a:lnTo>
                    <a:pt x="0" y="86626"/>
                  </a:lnTo>
                  <a:lnTo>
                    <a:pt x="0" y="217512"/>
                  </a:lnTo>
                  <a:lnTo>
                    <a:pt x="3022" y="220535"/>
                  </a:lnTo>
                  <a:lnTo>
                    <a:pt x="43726" y="220535"/>
                  </a:lnTo>
                  <a:lnTo>
                    <a:pt x="46723" y="217512"/>
                  </a:lnTo>
                  <a:lnTo>
                    <a:pt x="46723" y="170002"/>
                  </a:lnTo>
                  <a:lnTo>
                    <a:pt x="49357" y="156968"/>
                  </a:lnTo>
                  <a:lnTo>
                    <a:pt x="56537" y="146323"/>
                  </a:lnTo>
                  <a:lnTo>
                    <a:pt x="67179" y="139144"/>
                  </a:lnTo>
                  <a:lnTo>
                    <a:pt x="80200" y="136512"/>
                  </a:lnTo>
                  <a:lnTo>
                    <a:pt x="346544" y="136512"/>
                  </a:lnTo>
                  <a:lnTo>
                    <a:pt x="372621" y="131249"/>
                  </a:lnTo>
                  <a:lnTo>
                    <a:pt x="393906" y="116898"/>
                  </a:lnTo>
                  <a:lnTo>
                    <a:pt x="408252" y="95616"/>
                  </a:lnTo>
                  <a:lnTo>
                    <a:pt x="413512" y="69557"/>
                  </a:lnTo>
                  <a:lnTo>
                    <a:pt x="413512" y="66967"/>
                  </a:lnTo>
                  <a:lnTo>
                    <a:pt x="46723" y="66967"/>
                  </a:lnTo>
                  <a:lnTo>
                    <a:pt x="40901" y="65609"/>
                  </a:lnTo>
                  <a:lnTo>
                    <a:pt x="27305" y="64985"/>
                  </a:lnTo>
                  <a:close/>
                </a:path>
                <a:path w="414020" h="220980">
                  <a:moveTo>
                    <a:pt x="413512" y="0"/>
                  </a:moveTo>
                  <a:lnTo>
                    <a:pt x="113677" y="0"/>
                  </a:lnTo>
                  <a:lnTo>
                    <a:pt x="87624" y="5262"/>
                  </a:lnTo>
                  <a:lnTo>
                    <a:pt x="66341" y="19615"/>
                  </a:lnTo>
                  <a:lnTo>
                    <a:pt x="51987" y="40901"/>
                  </a:lnTo>
                  <a:lnTo>
                    <a:pt x="46723" y="66967"/>
                  </a:lnTo>
                  <a:lnTo>
                    <a:pt x="413512" y="66967"/>
                  </a:lnTo>
                  <a:lnTo>
                    <a:pt x="413512" y="0"/>
                  </a:lnTo>
                  <a:close/>
                </a:path>
              </a:pathLst>
            </a:custGeom>
            <a:solidFill>
              <a:srgbClr val="C0C3C7"/>
            </a:solidFill>
          </p:spPr>
          <p:txBody>
            <a:bodyPr wrap="square" lIns="0" tIns="0" rIns="0" bIns="0" rtlCol="0" anchor="ctr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8" name="Group 74"/>
          <p:cNvGrpSpPr/>
          <p:nvPr/>
        </p:nvGrpSpPr>
        <p:grpSpPr>
          <a:xfrm>
            <a:off x="3970188" y="2537395"/>
            <a:ext cx="734393" cy="586472"/>
            <a:chOff x="7309384" y="1676401"/>
            <a:chExt cx="752687" cy="622300"/>
          </a:xfrm>
          <a:solidFill>
            <a:sysClr val="window" lastClr="FFFFFF"/>
          </a:solidFill>
        </p:grpSpPr>
        <p:sp>
          <p:nvSpPr>
            <p:cNvPr id="40" name="Freeform 32"/>
            <p:cNvSpPr>
              <a:spLocks noEditPoints="1"/>
            </p:cNvSpPr>
            <p:nvPr/>
          </p:nvSpPr>
          <p:spPr bwMode="auto">
            <a:xfrm>
              <a:off x="7309384" y="1834050"/>
              <a:ext cx="361527" cy="464651"/>
            </a:xfrm>
            <a:custGeom>
              <a:avLst/>
              <a:gdLst/>
              <a:ahLst/>
              <a:cxnLst>
                <a:cxn ang="0">
                  <a:pos x="151" y="136"/>
                </a:cxn>
                <a:cxn ang="0">
                  <a:pos x="97" y="122"/>
                </a:cxn>
                <a:cxn ang="0">
                  <a:pos x="91" y="119"/>
                </a:cxn>
                <a:cxn ang="0">
                  <a:pos x="84" y="113"/>
                </a:cxn>
                <a:cxn ang="0">
                  <a:pos x="75" y="103"/>
                </a:cxn>
                <a:cxn ang="0">
                  <a:pos x="35" y="71"/>
                </a:cxn>
                <a:cxn ang="0">
                  <a:pos x="24" y="80"/>
                </a:cxn>
                <a:cxn ang="0">
                  <a:pos x="47" y="112"/>
                </a:cxn>
                <a:cxn ang="0">
                  <a:pos x="55" y="121"/>
                </a:cxn>
                <a:cxn ang="0">
                  <a:pos x="62" y="129"/>
                </a:cxn>
                <a:cxn ang="0">
                  <a:pos x="46" y="117"/>
                </a:cxn>
                <a:cxn ang="0">
                  <a:pos x="42" y="112"/>
                </a:cxn>
                <a:cxn ang="0">
                  <a:pos x="38" y="105"/>
                </a:cxn>
                <a:cxn ang="0">
                  <a:pos x="33" y="98"/>
                </a:cxn>
                <a:cxn ang="0">
                  <a:pos x="25" y="88"/>
                </a:cxn>
                <a:cxn ang="0">
                  <a:pos x="21" y="83"/>
                </a:cxn>
                <a:cxn ang="0">
                  <a:pos x="28" y="66"/>
                </a:cxn>
                <a:cxn ang="0">
                  <a:pos x="24" y="29"/>
                </a:cxn>
                <a:cxn ang="0">
                  <a:pos x="13" y="1"/>
                </a:cxn>
                <a:cxn ang="0">
                  <a:pos x="8" y="2"/>
                </a:cxn>
                <a:cxn ang="0">
                  <a:pos x="4" y="21"/>
                </a:cxn>
                <a:cxn ang="0">
                  <a:pos x="1" y="74"/>
                </a:cxn>
                <a:cxn ang="0">
                  <a:pos x="38" y="155"/>
                </a:cxn>
                <a:cxn ang="0">
                  <a:pos x="108" y="200"/>
                </a:cxn>
                <a:cxn ang="0">
                  <a:pos x="122" y="223"/>
                </a:cxn>
                <a:cxn ang="0">
                  <a:pos x="122" y="248"/>
                </a:cxn>
                <a:cxn ang="0">
                  <a:pos x="190" y="248"/>
                </a:cxn>
                <a:cxn ang="0">
                  <a:pos x="190" y="225"/>
                </a:cxn>
                <a:cxn ang="0">
                  <a:pos x="191" y="212"/>
                </a:cxn>
                <a:cxn ang="0">
                  <a:pos x="191" y="194"/>
                </a:cxn>
                <a:cxn ang="0">
                  <a:pos x="151" y="136"/>
                </a:cxn>
                <a:cxn ang="0">
                  <a:pos x="151" y="136"/>
                </a:cxn>
                <a:cxn ang="0">
                  <a:pos x="151" y="136"/>
                </a:cxn>
              </a:cxnLst>
              <a:rect l="0" t="0" r="r" b="b"/>
              <a:pathLst>
                <a:path w="193" h="248">
                  <a:moveTo>
                    <a:pt x="151" y="136"/>
                  </a:moveTo>
                  <a:cubicBezTo>
                    <a:pt x="149" y="135"/>
                    <a:pt x="135" y="124"/>
                    <a:pt x="97" y="122"/>
                  </a:cubicBezTo>
                  <a:cubicBezTo>
                    <a:pt x="95" y="121"/>
                    <a:pt x="93" y="120"/>
                    <a:pt x="91" y="119"/>
                  </a:cubicBezTo>
                  <a:cubicBezTo>
                    <a:pt x="88" y="117"/>
                    <a:pt x="86" y="115"/>
                    <a:pt x="84" y="113"/>
                  </a:cubicBezTo>
                  <a:cubicBezTo>
                    <a:pt x="81" y="110"/>
                    <a:pt x="78" y="107"/>
                    <a:pt x="75" y="103"/>
                  </a:cubicBezTo>
                  <a:cubicBezTo>
                    <a:pt x="56" y="77"/>
                    <a:pt x="38" y="72"/>
                    <a:pt x="35" y="71"/>
                  </a:cubicBezTo>
                  <a:cubicBezTo>
                    <a:pt x="32" y="69"/>
                    <a:pt x="18" y="71"/>
                    <a:pt x="24" y="80"/>
                  </a:cubicBezTo>
                  <a:cubicBezTo>
                    <a:pt x="25" y="80"/>
                    <a:pt x="46" y="110"/>
                    <a:pt x="47" y="112"/>
                  </a:cubicBezTo>
                  <a:cubicBezTo>
                    <a:pt x="50" y="116"/>
                    <a:pt x="52" y="118"/>
                    <a:pt x="55" y="121"/>
                  </a:cubicBezTo>
                  <a:cubicBezTo>
                    <a:pt x="57" y="124"/>
                    <a:pt x="60" y="126"/>
                    <a:pt x="62" y="129"/>
                  </a:cubicBezTo>
                  <a:cubicBezTo>
                    <a:pt x="62" y="129"/>
                    <a:pt x="49" y="121"/>
                    <a:pt x="46" y="117"/>
                  </a:cubicBezTo>
                  <a:cubicBezTo>
                    <a:pt x="44" y="116"/>
                    <a:pt x="43" y="113"/>
                    <a:pt x="42" y="112"/>
                  </a:cubicBezTo>
                  <a:cubicBezTo>
                    <a:pt x="41" y="109"/>
                    <a:pt x="40" y="107"/>
                    <a:pt x="38" y="105"/>
                  </a:cubicBezTo>
                  <a:cubicBezTo>
                    <a:pt x="36" y="103"/>
                    <a:pt x="35" y="100"/>
                    <a:pt x="33" y="98"/>
                  </a:cubicBezTo>
                  <a:cubicBezTo>
                    <a:pt x="30" y="95"/>
                    <a:pt x="28" y="91"/>
                    <a:pt x="25" y="88"/>
                  </a:cubicBezTo>
                  <a:cubicBezTo>
                    <a:pt x="24" y="86"/>
                    <a:pt x="22" y="85"/>
                    <a:pt x="21" y="83"/>
                  </a:cubicBezTo>
                  <a:cubicBezTo>
                    <a:pt x="14" y="72"/>
                    <a:pt x="21" y="67"/>
                    <a:pt x="28" y="66"/>
                  </a:cubicBezTo>
                  <a:cubicBezTo>
                    <a:pt x="28" y="65"/>
                    <a:pt x="25" y="34"/>
                    <a:pt x="24" y="29"/>
                  </a:cubicBezTo>
                  <a:cubicBezTo>
                    <a:pt x="23" y="15"/>
                    <a:pt x="21" y="4"/>
                    <a:pt x="13" y="1"/>
                  </a:cubicBezTo>
                  <a:cubicBezTo>
                    <a:pt x="11" y="0"/>
                    <a:pt x="9" y="0"/>
                    <a:pt x="8" y="2"/>
                  </a:cubicBezTo>
                  <a:cubicBezTo>
                    <a:pt x="6" y="4"/>
                    <a:pt x="4" y="15"/>
                    <a:pt x="4" y="21"/>
                  </a:cubicBezTo>
                  <a:cubicBezTo>
                    <a:pt x="4" y="21"/>
                    <a:pt x="0" y="57"/>
                    <a:pt x="1" y="74"/>
                  </a:cubicBezTo>
                  <a:cubicBezTo>
                    <a:pt x="2" y="83"/>
                    <a:pt x="30" y="145"/>
                    <a:pt x="38" y="155"/>
                  </a:cubicBezTo>
                  <a:cubicBezTo>
                    <a:pt x="46" y="164"/>
                    <a:pt x="108" y="200"/>
                    <a:pt x="108" y="200"/>
                  </a:cubicBezTo>
                  <a:cubicBezTo>
                    <a:pt x="111" y="202"/>
                    <a:pt x="122" y="211"/>
                    <a:pt x="122" y="223"/>
                  </a:cubicBezTo>
                  <a:cubicBezTo>
                    <a:pt x="122" y="248"/>
                    <a:pt x="122" y="248"/>
                    <a:pt x="122" y="248"/>
                  </a:cubicBezTo>
                  <a:cubicBezTo>
                    <a:pt x="190" y="248"/>
                    <a:pt x="190" y="248"/>
                    <a:pt x="190" y="248"/>
                  </a:cubicBezTo>
                  <a:cubicBezTo>
                    <a:pt x="190" y="225"/>
                    <a:pt x="190" y="225"/>
                    <a:pt x="190" y="225"/>
                  </a:cubicBezTo>
                  <a:cubicBezTo>
                    <a:pt x="190" y="221"/>
                    <a:pt x="191" y="216"/>
                    <a:pt x="191" y="212"/>
                  </a:cubicBezTo>
                  <a:cubicBezTo>
                    <a:pt x="193" y="207"/>
                    <a:pt x="192" y="198"/>
                    <a:pt x="191" y="194"/>
                  </a:cubicBezTo>
                  <a:cubicBezTo>
                    <a:pt x="183" y="159"/>
                    <a:pt x="154" y="138"/>
                    <a:pt x="151" y="136"/>
                  </a:cubicBezTo>
                  <a:close/>
                  <a:moveTo>
                    <a:pt x="151" y="136"/>
                  </a:moveTo>
                  <a:cubicBezTo>
                    <a:pt x="151" y="136"/>
                    <a:pt x="151" y="136"/>
                    <a:pt x="151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ctr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Freeform 33"/>
            <p:cNvSpPr>
              <a:spLocks noEditPoints="1"/>
            </p:cNvSpPr>
            <p:nvPr/>
          </p:nvSpPr>
          <p:spPr bwMode="auto">
            <a:xfrm>
              <a:off x="7700544" y="1834050"/>
              <a:ext cx="361527" cy="464651"/>
            </a:xfrm>
            <a:custGeom>
              <a:avLst/>
              <a:gdLst/>
              <a:ahLst/>
              <a:cxnLst>
                <a:cxn ang="0">
                  <a:pos x="189" y="21"/>
                </a:cxn>
                <a:cxn ang="0">
                  <a:pos x="186" y="2"/>
                </a:cxn>
                <a:cxn ang="0">
                  <a:pos x="180" y="1"/>
                </a:cxn>
                <a:cxn ang="0">
                  <a:pos x="169" y="29"/>
                </a:cxn>
                <a:cxn ang="0">
                  <a:pos x="165" y="66"/>
                </a:cxn>
                <a:cxn ang="0">
                  <a:pos x="173" y="83"/>
                </a:cxn>
                <a:cxn ang="0">
                  <a:pos x="168" y="88"/>
                </a:cxn>
                <a:cxn ang="0">
                  <a:pos x="161" y="98"/>
                </a:cxn>
                <a:cxn ang="0">
                  <a:pos x="155" y="105"/>
                </a:cxn>
                <a:cxn ang="0">
                  <a:pos x="151" y="112"/>
                </a:cxn>
                <a:cxn ang="0">
                  <a:pos x="148" y="117"/>
                </a:cxn>
                <a:cxn ang="0">
                  <a:pos x="131" y="129"/>
                </a:cxn>
                <a:cxn ang="0">
                  <a:pos x="138" y="121"/>
                </a:cxn>
                <a:cxn ang="0">
                  <a:pos x="146" y="112"/>
                </a:cxn>
                <a:cxn ang="0">
                  <a:pos x="169" y="80"/>
                </a:cxn>
                <a:cxn ang="0">
                  <a:pos x="158" y="71"/>
                </a:cxn>
                <a:cxn ang="0">
                  <a:pos x="118" y="103"/>
                </a:cxn>
                <a:cxn ang="0">
                  <a:pos x="109" y="113"/>
                </a:cxn>
                <a:cxn ang="0">
                  <a:pos x="102" y="119"/>
                </a:cxn>
                <a:cxn ang="0">
                  <a:pos x="96" y="122"/>
                </a:cxn>
                <a:cxn ang="0">
                  <a:pos x="42" y="136"/>
                </a:cxn>
                <a:cxn ang="0">
                  <a:pos x="2" y="194"/>
                </a:cxn>
                <a:cxn ang="0">
                  <a:pos x="2" y="212"/>
                </a:cxn>
                <a:cxn ang="0">
                  <a:pos x="3" y="225"/>
                </a:cxn>
                <a:cxn ang="0">
                  <a:pos x="3" y="248"/>
                </a:cxn>
                <a:cxn ang="0">
                  <a:pos x="71" y="248"/>
                </a:cxn>
                <a:cxn ang="0">
                  <a:pos x="71" y="223"/>
                </a:cxn>
                <a:cxn ang="0">
                  <a:pos x="85" y="200"/>
                </a:cxn>
                <a:cxn ang="0">
                  <a:pos x="156" y="155"/>
                </a:cxn>
                <a:cxn ang="0">
                  <a:pos x="192" y="74"/>
                </a:cxn>
                <a:cxn ang="0">
                  <a:pos x="189" y="21"/>
                </a:cxn>
                <a:cxn ang="0">
                  <a:pos x="189" y="21"/>
                </a:cxn>
                <a:cxn ang="0">
                  <a:pos x="189" y="21"/>
                </a:cxn>
              </a:cxnLst>
              <a:rect l="0" t="0" r="r" b="b"/>
              <a:pathLst>
                <a:path w="193" h="248">
                  <a:moveTo>
                    <a:pt x="189" y="21"/>
                  </a:moveTo>
                  <a:cubicBezTo>
                    <a:pt x="189" y="15"/>
                    <a:pt x="188" y="4"/>
                    <a:pt x="186" y="2"/>
                  </a:cubicBezTo>
                  <a:cubicBezTo>
                    <a:pt x="184" y="0"/>
                    <a:pt x="183" y="0"/>
                    <a:pt x="180" y="1"/>
                  </a:cubicBezTo>
                  <a:cubicBezTo>
                    <a:pt x="172" y="4"/>
                    <a:pt x="170" y="15"/>
                    <a:pt x="169" y="29"/>
                  </a:cubicBezTo>
                  <a:cubicBezTo>
                    <a:pt x="168" y="34"/>
                    <a:pt x="165" y="65"/>
                    <a:pt x="165" y="66"/>
                  </a:cubicBezTo>
                  <a:cubicBezTo>
                    <a:pt x="172" y="67"/>
                    <a:pt x="179" y="72"/>
                    <a:pt x="173" y="83"/>
                  </a:cubicBezTo>
                  <a:cubicBezTo>
                    <a:pt x="171" y="85"/>
                    <a:pt x="170" y="86"/>
                    <a:pt x="168" y="88"/>
                  </a:cubicBezTo>
                  <a:cubicBezTo>
                    <a:pt x="165" y="91"/>
                    <a:pt x="163" y="95"/>
                    <a:pt x="161" y="98"/>
                  </a:cubicBezTo>
                  <a:cubicBezTo>
                    <a:pt x="159" y="100"/>
                    <a:pt x="157" y="103"/>
                    <a:pt x="155" y="105"/>
                  </a:cubicBezTo>
                  <a:cubicBezTo>
                    <a:pt x="154" y="107"/>
                    <a:pt x="152" y="109"/>
                    <a:pt x="151" y="112"/>
                  </a:cubicBezTo>
                  <a:cubicBezTo>
                    <a:pt x="150" y="113"/>
                    <a:pt x="149" y="116"/>
                    <a:pt x="148" y="117"/>
                  </a:cubicBezTo>
                  <a:cubicBezTo>
                    <a:pt x="144" y="121"/>
                    <a:pt x="131" y="129"/>
                    <a:pt x="131" y="129"/>
                  </a:cubicBezTo>
                  <a:cubicBezTo>
                    <a:pt x="133" y="126"/>
                    <a:pt x="136" y="124"/>
                    <a:pt x="138" y="121"/>
                  </a:cubicBezTo>
                  <a:cubicBezTo>
                    <a:pt x="141" y="118"/>
                    <a:pt x="144" y="116"/>
                    <a:pt x="146" y="112"/>
                  </a:cubicBezTo>
                  <a:cubicBezTo>
                    <a:pt x="147" y="110"/>
                    <a:pt x="168" y="80"/>
                    <a:pt x="169" y="80"/>
                  </a:cubicBezTo>
                  <a:cubicBezTo>
                    <a:pt x="175" y="71"/>
                    <a:pt x="162" y="69"/>
                    <a:pt x="158" y="71"/>
                  </a:cubicBezTo>
                  <a:cubicBezTo>
                    <a:pt x="155" y="72"/>
                    <a:pt x="137" y="77"/>
                    <a:pt x="118" y="103"/>
                  </a:cubicBezTo>
                  <a:cubicBezTo>
                    <a:pt x="115" y="107"/>
                    <a:pt x="112" y="110"/>
                    <a:pt x="109" y="113"/>
                  </a:cubicBezTo>
                  <a:cubicBezTo>
                    <a:pt x="107" y="115"/>
                    <a:pt x="105" y="117"/>
                    <a:pt x="102" y="119"/>
                  </a:cubicBezTo>
                  <a:cubicBezTo>
                    <a:pt x="100" y="120"/>
                    <a:pt x="98" y="121"/>
                    <a:pt x="96" y="122"/>
                  </a:cubicBezTo>
                  <a:cubicBezTo>
                    <a:pt x="58" y="124"/>
                    <a:pt x="44" y="135"/>
                    <a:pt x="42" y="136"/>
                  </a:cubicBezTo>
                  <a:cubicBezTo>
                    <a:pt x="39" y="138"/>
                    <a:pt x="10" y="159"/>
                    <a:pt x="2" y="194"/>
                  </a:cubicBezTo>
                  <a:cubicBezTo>
                    <a:pt x="1" y="198"/>
                    <a:pt x="0" y="207"/>
                    <a:pt x="2" y="212"/>
                  </a:cubicBezTo>
                  <a:cubicBezTo>
                    <a:pt x="2" y="216"/>
                    <a:pt x="3" y="221"/>
                    <a:pt x="3" y="225"/>
                  </a:cubicBezTo>
                  <a:cubicBezTo>
                    <a:pt x="3" y="248"/>
                    <a:pt x="3" y="248"/>
                    <a:pt x="3" y="248"/>
                  </a:cubicBezTo>
                  <a:cubicBezTo>
                    <a:pt x="71" y="248"/>
                    <a:pt x="71" y="248"/>
                    <a:pt x="71" y="248"/>
                  </a:cubicBezTo>
                  <a:cubicBezTo>
                    <a:pt x="71" y="223"/>
                    <a:pt x="71" y="223"/>
                    <a:pt x="71" y="223"/>
                  </a:cubicBezTo>
                  <a:cubicBezTo>
                    <a:pt x="71" y="211"/>
                    <a:pt x="83" y="202"/>
                    <a:pt x="85" y="200"/>
                  </a:cubicBezTo>
                  <a:cubicBezTo>
                    <a:pt x="85" y="200"/>
                    <a:pt x="148" y="164"/>
                    <a:pt x="156" y="155"/>
                  </a:cubicBezTo>
                  <a:cubicBezTo>
                    <a:pt x="164" y="145"/>
                    <a:pt x="192" y="83"/>
                    <a:pt x="192" y="74"/>
                  </a:cubicBezTo>
                  <a:cubicBezTo>
                    <a:pt x="193" y="57"/>
                    <a:pt x="189" y="21"/>
                    <a:pt x="189" y="21"/>
                  </a:cubicBezTo>
                  <a:close/>
                  <a:moveTo>
                    <a:pt x="189" y="21"/>
                  </a:moveTo>
                  <a:cubicBezTo>
                    <a:pt x="189" y="21"/>
                    <a:pt x="189" y="21"/>
                    <a:pt x="189" y="21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ctr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Freeform 34"/>
            <p:cNvSpPr>
              <a:spLocks noEditPoints="1"/>
            </p:cNvSpPr>
            <p:nvPr/>
          </p:nvSpPr>
          <p:spPr bwMode="auto">
            <a:xfrm>
              <a:off x="7457551" y="1676401"/>
              <a:ext cx="456354" cy="403013"/>
            </a:xfrm>
            <a:custGeom>
              <a:avLst/>
              <a:gdLst/>
              <a:ahLst/>
              <a:cxnLst>
                <a:cxn ang="0">
                  <a:pos x="163" y="185"/>
                </a:cxn>
                <a:cxn ang="0">
                  <a:pos x="240" y="84"/>
                </a:cxn>
                <a:cxn ang="0">
                  <a:pos x="229" y="26"/>
                </a:cxn>
                <a:cxn ang="0">
                  <a:pos x="176" y="0"/>
                </a:cxn>
                <a:cxn ang="0">
                  <a:pos x="170" y="0"/>
                </a:cxn>
                <a:cxn ang="0">
                  <a:pos x="122" y="17"/>
                </a:cxn>
                <a:cxn ang="0">
                  <a:pos x="74" y="0"/>
                </a:cxn>
                <a:cxn ang="0">
                  <a:pos x="68" y="0"/>
                </a:cxn>
                <a:cxn ang="0">
                  <a:pos x="15" y="26"/>
                </a:cxn>
                <a:cxn ang="0">
                  <a:pos x="4" y="84"/>
                </a:cxn>
                <a:cxn ang="0">
                  <a:pos x="81" y="185"/>
                </a:cxn>
                <a:cxn ang="0">
                  <a:pos x="102" y="206"/>
                </a:cxn>
                <a:cxn ang="0">
                  <a:pos x="122" y="215"/>
                </a:cxn>
                <a:cxn ang="0">
                  <a:pos x="142" y="206"/>
                </a:cxn>
                <a:cxn ang="0">
                  <a:pos x="163" y="185"/>
                </a:cxn>
                <a:cxn ang="0">
                  <a:pos x="81" y="40"/>
                </a:cxn>
                <a:cxn ang="0">
                  <a:pos x="44" y="73"/>
                </a:cxn>
                <a:cxn ang="0">
                  <a:pos x="34" y="83"/>
                </a:cxn>
                <a:cxn ang="0">
                  <a:pos x="24" y="73"/>
                </a:cxn>
                <a:cxn ang="0">
                  <a:pos x="81" y="20"/>
                </a:cxn>
                <a:cxn ang="0">
                  <a:pos x="91" y="30"/>
                </a:cxn>
                <a:cxn ang="0">
                  <a:pos x="81" y="40"/>
                </a:cxn>
                <a:cxn ang="0">
                  <a:pos x="81" y="40"/>
                </a:cxn>
                <a:cxn ang="0">
                  <a:pos x="81" y="40"/>
                </a:cxn>
              </a:cxnLst>
              <a:rect l="0" t="0" r="r" b="b"/>
              <a:pathLst>
                <a:path w="244" h="215">
                  <a:moveTo>
                    <a:pt x="163" y="185"/>
                  </a:moveTo>
                  <a:cubicBezTo>
                    <a:pt x="195" y="155"/>
                    <a:pt x="235" y="118"/>
                    <a:pt x="240" y="84"/>
                  </a:cubicBezTo>
                  <a:cubicBezTo>
                    <a:pt x="244" y="61"/>
                    <a:pt x="240" y="41"/>
                    <a:pt x="229" y="26"/>
                  </a:cubicBezTo>
                  <a:cubicBezTo>
                    <a:pt x="218" y="11"/>
                    <a:pt x="201" y="3"/>
                    <a:pt x="176" y="0"/>
                  </a:cubicBezTo>
                  <a:cubicBezTo>
                    <a:pt x="174" y="0"/>
                    <a:pt x="172" y="0"/>
                    <a:pt x="170" y="0"/>
                  </a:cubicBezTo>
                  <a:cubicBezTo>
                    <a:pt x="153" y="0"/>
                    <a:pt x="135" y="6"/>
                    <a:pt x="122" y="17"/>
                  </a:cubicBezTo>
                  <a:cubicBezTo>
                    <a:pt x="109" y="6"/>
                    <a:pt x="92" y="0"/>
                    <a:pt x="74" y="0"/>
                  </a:cubicBezTo>
                  <a:cubicBezTo>
                    <a:pt x="72" y="0"/>
                    <a:pt x="70" y="0"/>
                    <a:pt x="68" y="0"/>
                  </a:cubicBezTo>
                  <a:cubicBezTo>
                    <a:pt x="44" y="3"/>
                    <a:pt x="26" y="11"/>
                    <a:pt x="15" y="26"/>
                  </a:cubicBezTo>
                  <a:cubicBezTo>
                    <a:pt x="4" y="41"/>
                    <a:pt x="0" y="61"/>
                    <a:pt x="4" y="84"/>
                  </a:cubicBezTo>
                  <a:cubicBezTo>
                    <a:pt x="9" y="118"/>
                    <a:pt x="49" y="155"/>
                    <a:pt x="81" y="185"/>
                  </a:cubicBezTo>
                  <a:cubicBezTo>
                    <a:pt x="81" y="185"/>
                    <a:pt x="97" y="201"/>
                    <a:pt x="102" y="206"/>
                  </a:cubicBezTo>
                  <a:cubicBezTo>
                    <a:pt x="106" y="209"/>
                    <a:pt x="114" y="215"/>
                    <a:pt x="122" y="215"/>
                  </a:cubicBezTo>
                  <a:cubicBezTo>
                    <a:pt x="131" y="215"/>
                    <a:pt x="138" y="209"/>
                    <a:pt x="142" y="206"/>
                  </a:cubicBezTo>
                  <a:cubicBezTo>
                    <a:pt x="147" y="201"/>
                    <a:pt x="163" y="185"/>
                    <a:pt x="163" y="185"/>
                  </a:cubicBezTo>
                  <a:close/>
                  <a:moveTo>
                    <a:pt x="81" y="40"/>
                  </a:moveTo>
                  <a:cubicBezTo>
                    <a:pt x="61" y="40"/>
                    <a:pt x="44" y="55"/>
                    <a:pt x="44" y="73"/>
                  </a:cubicBezTo>
                  <a:cubicBezTo>
                    <a:pt x="44" y="78"/>
                    <a:pt x="40" y="83"/>
                    <a:pt x="34" y="83"/>
                  </a:cubicBezTo>
                  <a:cubicBezTo>
                    <a:pt x="29" y="83"/>
                    <a:pt x="24" y="78"/>
                    <a:pt x="24" y="73"/>
                  </a:cubicBezTo>
                  <a:cubicBezTo>
                    <a:pt x="24" y="44"/>
                    <a:pt x="50" y="20"/>
                    <a:pt x="81" y="20"/>
                  </a:cubicBezTo>
                  <a:cubicBezTo>
                    <a:pt x="87" y="20"/>
                    <a:pt x="91" y="24"/>
                    <a:pt x="91" y="30"/>
                  </a:cubicBezTo>
                  <a:cubicBezTo>
                    <a:pt x="91" y="35"/>
                    <a:pt x="87" y="40"/>
                    <a:pt x="81" y="40"/>
                  </a:cubicBezTo>
                  <a:close/>
                  <a:moveTo>
                    <a:pt x="81" y="40"/>
                  </a:moveTo>
                  <a:cubicBezTo>
                    <a:pt x="81" y="40"/>
                    <a:pt x="81" y="40"/>
                    <a:pt x="81" y="4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ctr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59" name="Группа 58"/>
          <p:cNvGrpSpPr/>
          <p:nvPr/>
        </p:nvGrpSpPr>
        <p:grpSpPr>
          <a:xfrm>
            <a:off x="6692232" y="2026659"/>
            <a:ext cx="1073830" cy="1123777"/>
            <a:chOff x="6037650" y="3617958"/>
            <a:chExt cx="1073830" cy="1123777"/>
          </a:xfrm>
        </p:grpSpPr>
        <p:sp>
          <p:nvSpPr>
            <p:cNvPr id="11" name="object 7"/>
            <p:cNvSpPr txBox="1"/>
            <p:nvPr/>
          </p:nvSpPr>
          <p:spPr>
            <a:xfrm>
              <a:off x="6037650" y="4494231"/>
              <a:ext cx="1073830" cy="247504"/>
            </a:xfrm>
            <a:prstGeom prst="rect">
              <a:avLst/>
            </a:prstGeom>
          </p:spPr>
          <p:txBody>
            <a:bodyPr vert="horz" wrap="square" lIns="0" tIns="31750" rIns="0" bIns="0" rtlCol="0" anchor="ctr">
              <a:spAutoFit/>
            </a:bodyPr>
            <a:lstStyle/>
            <a:p>
              <a:pPr marL="635" marR="0" lvl="0" indent="0" algn="ctr" defTabSz="457200" eaLnBrk="1" fontAlgn="auto" latinLnBrk="0" hangingPunct="1">
                <a:lnSpc>
                  <a:spcPct val="100000"/>
                </a:lnSpc>
                <a:spcBef>
                  <a:spcPts val="12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2">
                      <a:lumMod val="75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пенсионеры</a:t>
              </a:r>
              <a:endParaRPr kumimoji="0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9" name="Picture 6" descr="https://g.foolcdn.com/editorial/images/171182/cheap-43900_1280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92609" y="3617958"/>
              <a:ext cx="852549" cy="9116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7" name="Группа 56"/>
          <p:cNvGrpSpPr/>
          <p:nvPr/>
        </p:nvGrpSpPr>
        <p:grpSpPr>
          <a:xfrm>
            <a:off x="2689078" y="5117374"/>
            <a:ext cx="1662763" cy="1108679"/>
            <a:chOff x="734577" y="1768974"/>
            <a:chExt cx="1662763" cy="1108679"/>
          </a:xfrm>
        </p:grpSpPr>
        <p:sp>
          <p:nvSpPr>
            <p:cNvPr id="50" name="Прямоугольник 49"/>
            <p:cNvSpPr/>
            <p:nvPr/>
          </p:nvSpPr>
          <p:spPr>
            <a:xfrm>
              <a:off x="734577" y="2569876"/>
              <a:ext cx="1662763" cy="307777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r>
                <a:rPr lang="ru-RU" sz="1400" dirty="0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г</a:t>
              </a:r>
              <a:r>
                <a:rPr lang="ru-RU" sz="1400" dirty="0" smtClean="0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родские жители</a:t>
              </a:r>
              <a:endParaRPr lang="ru-RU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56" name="Рисунок 55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164907" y="1768974"/>
              <a:ext cx="802101" cy="798312"/>
            </a:xfrm>
            <a:prstGeom prst="rect">
              <a:avLst/>
            </a:prstGeom>
          </p:spPr>
        </p:pic>
      </p:grpSp>
      <p:grpSp>
        <p:nvGrpSpPr>
          <p:cNvPr id="60" name="Группа 59"/>
          <p:cNvGrpSpPr/>
          <p:nvPr/>
        </p:nvGrpSpPr>
        <p:grpSpPr>
          <a:xfrm>
            <a:off x="5154115" y="5052339"/>
            <a:ext cx="1582997" cy="1093148"/>
            <a:chOff x="3023037" y="1774965"/>
            <a:chExt cx="1582997" cy="1093148"/>
          </a:xfrm>
        </p:grpSpPr>
        <p:sp>
          <p:nvSpPr>
            <p:cNvPr id="53" name="Прямоугольник 52"/>
            <p:cNvSpPr/>
            <p:nvPr/>
          </p:nvSpPr>
          <p:spPr>
            <a:xfrm>
              <a:off x="3023037" y="2560336"/>
              <a:ext cx="1582997" cy="307777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r>
                <a:rPr lang="ru-RU" sz="1400" dirty="0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</a:t>
              </a:r>
              <a:r>
                <a:rPr lang="ru-RU" sz="1400" dirty="0" smtClean="0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ельские жители</a:t>
              </a:r>
              <a:endParaRPr lang="ru-RU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58" name="Рисунок 57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414374" y="1774965"/>
              <a:ext cx="800325" cy="792322"/>
            </a:xfrm>
            <a:prstGeom prst="rect">
              <a:avLst/>
            </a:prstGeom>
          </p:spPr>
        </p:pic>
      </p:grpSp>
      <p:sp>
        <p:nvSpPr>
          <p:cNvPr id="69" name="Овал 68"/>
          <p:cNvSpPr/>
          <p:nvPr/>
        </p:nvSpPr>
        <p:spPr>
          <a:xfrm>
            <a:off x="3780639" y="2837118"/>
            <a:ext cx="1525130" cy="1424738"/>
          </a:xfrm>
          <a:prstGeom prst="ellipse">
            <a:avLst/>
          </a:prstGeom>
          <a:solidFill>
            <a:srgbClr val="1A64A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Клиенты Почты России</a:t>
            </a:r>
            <a:endParaRPr lang="ru-RU" dirty="0"/>
          </a:p>
        </p:txBody>
      </p:sp>
      <p:cxnSp>
        <p:nvCxnSpPr>
          <p:cNvPr id="71" name="Прямая соединительная линия 70"/>
          <p:cNvCxnSpPr/>
          <p:nvPr/>
        </p:nvCxnSpPr>
        <p:spPr>
          <a:xfrm>
            <a:off x="2742439" y="2837118"/>
            <a:ext cx="940951" cy="438950"/>
          </a:xfrm>
          <a:prstGeom prst="line">
            <a:avLst/>
          </a:prstGeom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 flipV="1">
            <a:off x="2978755" y="3962775"/>
            <a:ext cx="716750" cy="377033"/>
          </a:xfrm>
          <a:prstGeom prst="line">
            <a:avLst/>
          </a:prstGeom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Прямая соединительная линия 76"/>
          <p:cNvCxnSpPr/>
          <p:nvPr/>
        </p:nvCxnSpPr>
        <p:spPr>
          <a:xfrm flipH="1">
            <a:off x="4126607" y="4350637"/>
            <a:ext cx="141790" cy="479004"/>
          </a:xfrm>
          <a:prstGeom prst="line">
            <a:avLst/>
          </a:prstGeom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Прямая соединительная линия 78"/>
          <p:cNvCxnSpPr/>
          <p:nvPr/>
        </p:nvCxnSpPr>
        <p:spPr>
          <a:xfrm>
            <a:off x="4975833" y="4350637"/>
            <a:ext cx="222395" cy="463643"/>
          </a:xfrm>
          <a:prstGeom prst="line">
            <a:avLst/>
          </a:prstGeom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Прямая соединительная линия 82"/>
          <p:cNvCxnSpPr/>
          <p:nvPr/>
        </p:nvCxnSpPr>
        <p:spPr>
          <a:xfrm>
            <a:off x="5382683" y="3928914"/>
            <a:ext cx="940951" cy="438950"/>
          </a:xfrm>
          <a:prstGeom prst="line">
            <a:avLst/>
          </a:prstGeom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Прямая соединительная линия 83"/>
          <p:cNvCxnSpPr/>
          <p:nvPr/>
        </p:nvCxnSpPr>
        <p:spPr>
          <a:xfrm flipV="1">
            <a:off x="5481466" y="2763717"/>
            <a:ext cx="947428" cy="425201"/>
          </a:xfrm>
          <a:prstGeom prst="line">
            <a:avLst/>
          </a:prstGeom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Прямая соединительная линия 86"/>
          <p:cNvCxnSpPr/>
          <p:nvPr/>
        </p:nvCxnSpPr>
        <p:spPr>
          <a:xfrm flipH="1">
            <a:off x="5061156" y="2387306"/>
            <a:ext cx="244613" cy="462657"/>
          </a:xfrm>
          <a:prstGeom prst="line">
            <a:avLst/>
          </a:prstGeom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Прямая соединительная линия 89"/>
          <p:cNvCxnSpPr/>
          <p:nvPr/>
        </p:nvCxnSpPr>
        <p:spPr>
          <a:xfrm>
            <a:off x="3817895" y="2387306"/>
            <a:ext cx="240294" cy="401883"/>
          </a:xfrm>
          <a:prstGeom prst="line">
            <a:avLst/>
          </a:prstGeom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8586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3701815" cy="6858000"/>
          </a:xfrm>
          <a:prstGeom prst="rect">
            <a:avLst/>
          </a:prstGeom>
        </p:spPr>
      </p:pic>
      <p:sp>
        <p:nvSpPr>
          <p:cNvPr id="4" name="Заголовок 1"/>
          <p:cNvSpPr txBox="1">
            <a:spLocks/>
          </p:cNvSpPr>
          <p:nvPr/>
        </p:nvSpPr>
        <p:spPr>
          <a:xfrm>
            <a:off x="3813717" y="47518"/>
            <a:ext cx="8220702" cy="66479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kern="1200">
                <a:solidFill>
                  <a:schemeClr val="accent4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r>
              <a:rPr lang="ru-RU" sz="2400" b="1" dirty="0">
                <a:solidFill>
                  <a:srgbClr val="0052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ведение опросов совместно с Почтой России позволит вам:</a:t>
            </a:r>
          </a:p>
        </p:txBody>
      </p:sp>
      <p:sp>
        <p:nvSpPr>
          <p:cNvPr id="7" name="Полилиния 6"/>
          <p:cNvSpPr/>
          <p:nvPr/>
        </p:nvSpPr>
        <p:spPr>
          <a:xfrm>
            <a:off x="3906643" y="968342"/>
            <a:ext cx="8015874" cy="1824570"/>
          </a:xfrm>
          <a:custGeom>
            <a:avLst/>
            <a:gdLst>
              <a:gd name="connsiteX0" fmla="*/ 0 w 3677755"/>
              <a:gd name="connsiteY0" fmla="*/ 192663 h 1155956"/>
              <a:gd name="connsiteX1" fmla="*/ 192663 w 3677755"/>
              <a:gd name="connsiteY1" fmla="*/ 0 h 1155956"/>
              <a:gd name="connsiteX2" fmla="*/ 3485092 w 3677755"/>
              <a:gd name="connsiteY2" fmla="*/ 0 h 1155956"/>
              <a:gd name="connsiteX3" fmla="*/ 3677755 w 3677755"/>
              <a:gd name="connsiteY3" fmla="*/ 192663 h 1155956"/>
              <a:gd name="connsiteX4" fmla="*/ 3677755 w 3677755"/>
              <a:gd name="connsiteY4" fmla="*/ 963293 h 1155956"/>
              <a:gd name="connsiteX5" fmla="*/ 3485092 w 3677755"/>
              <a:gd name="connsiteY5" fmla="*/ 1155956 h 1155956"/>
              <a:gd name="connsiteX6" fmla="*/ 192663 w 3677755"/>
              <a:gd name="connsiteY6" fmla="*/ 1155956 h 1155956"/>
              <a:gd name="connsiteX7" fmla="*/ 0 w 3677755"/>
              <a:gd name="connsiteY7" fmla="*/ 963293 h 1155956"/>
              <a:gd name="connsiteX8" fmla="*/ 0 w 3677755"/>
              <a:gd name="connsiteY8" fmla="*/ 192663 h 1155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677755" h="1155956">
                <a:moveTo>
                  <a:pt x="0" y="192663"/>
                </a:moveTo>
                <a:cubicBezTo>
                  <a:pt x="0" y="86258"/>
                  <a:pt x="86258" y="0"/>
                  <a:pt x="192663" y="0"/>
                </a:cubicBezTo>
                <a:lnTo>
                  <a:pt x="3485092" y="0"/>
                </a:lnTo>
                <a:cubicBezTo>
                  <a:pt x="3591497" y="0"/>
                  <a:pt x="3677755" y="86258"/>
                  <a:pt x="3677755" y="192663"/>
                </a:cubicBezTo>
                <a:lnTo>
                  <a:pt x="3677755" y="963293"/>
                </a:lnTo>
                <a:cubicBezTo>
                  <a:pt x="3677755" y="1069698"/>
                  <a:pt x="3591497" y="1155956"/>
                  <a:pt x="3485092" y="1155956"/>
                </a:cubicBezTo>
                <a:lnTo>
                  <a:pt x="192663" y="1155956"/>
                </a:lnTo>
                <a:cubicBezTo>
                  <a:pt x="86258" y="1155956"/>
                  <a:pt x="0" y="1069698"/>
                  <a:pt x="0" y="963293"/>
                </a:cubicBezTo>
                <a:lnTo>
                  <a:pt x="0" y="192663"/>
                </a:lnTo>
                <a:close/>
              </a:path>
            </a:pathLst>
          </a:custGeom>
          <a:solidFill>
            <a:sysClr val="window" lastClr="FFFFFF"/>
          </a:solidFill>
          <a:ln w="10795" cap="flat" cmpd="sng" algn="ctr">
            <a:noFill/>
            <a:prstDash val="solid"/>
          </a:ln>
          <a:effectLst/>
        </p:spPr>
        <p:txBody>
          <a:bodyPr spcFirstLastPara="0" vert="horz" wrap="square" lIns="105959" tIns="105959" rIns="105959" bIns="105959" numCol="1" spcCol="1270" anchor="ctr" anchorCtr="0">
            <a:noAutofit/>
          </a:bodyPr>
          <a:lstStyle/>
          <a:p>
            <a:pPr marL="0" marR="0" lvl="0" indent="0" defTabSz="577850" eaLnBrk="1" fontAlgn="auto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 </a:t>
            </a: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Roboto Regular"/>
              </a:rPr>
              <a:t>значительно увеличить процент выявляемости заболеваний на ранней стадии (узкоспециализированные опросники по онкозаболеваемости, сердечно-сосудистым заболеваниям, ХНИЗ и т.д.)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Roboto Regular"/>
            </a:endParaRPr>
          </a:p>
        </p:txBody>
      </p:sp>
      <p:sp>
        <p:nvSpPr>
          <p:cNvPr id="8" name="Полилиния 7"/>
          <p:cNvSpPr/>
          <p:nvPr/>
        </p:nvSpPr>
        <p:spPr>
          <a:xfrm>
            <a:off x="3906643" y="2327322"/>
            <a:ext cx="7625412" cy="597311"/>
          </a:xfrm>
          <a:custGeom>
            <a:avLst/>
            <a:gdLst>
              <a:gd name="connsiteX0" fmla="*/ 0 w 3677755"/>
              <a:gd name="connsiteY0" fmla="*/ 192663 h 1155956"/>
              <a:gd name="connsiteX1" fmla="*/ 192663 w 3677755"/>
              <a:gd name="connsiteY1" fmla="*/ 0 h 1155956"/>
              <a:gd name="connsiteX2" fmla="*/ 3485092 w 3677755"/>
              <a:gd name="connsiteY2" fmla="*/ 0 h 1155956"/>
              <a:gd name="connsiteX3" fmla="*/ 3677755 w 3677755"/>
              <a:gd name="connsiteY3" fmla="*/ 192663 h 1155956"/>
              <a:gd name="connsiteX4" fmla="*/ 3677755 w 3677755"/>
              <a:gd name="connsiteY4" fmla="*/ 963293 h 1155956"/>
              <a:gd name="connsiteX5" fmla="*/ 3485092 w 3677755"/>
              <a:gd name="connsiteY5" fmla="*/ 1155956 h 1155956"/>
              <a:gd name="connsiteX6" fmla="*/ 192663 w 3677755"/>
              <a:gd name="connsiteY6" fmla="*/ 1155956 h 1155956"/>
              <a:gd name="connsiteX7" fmla="*/ 0 w 3677755"/>
              <a:gd name="connsiteY7" fmla="*/ 963293 h 1155956"/>
              <a:gd name="connsiteX8" fmla="*/ 0 w 3677755"/>
              <a:gd name="connsiteY8" fmla="*/ 192663 h 1155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677755" h="1155956">
                <a:moveTo>
                  <a:pt x="0" y="192663"/>
                </a:moveTo>
                <a:cubicBezTo>
                  <a:pt x="0" y="86258"/>
                  <a:pt x="86258" y="0"/>
                  <a:pt x="192663" y="0"/>
                </a:cubicBezTo>
                <a:lnTo>
                  <a:pt x="3485092" y="0"/>
                </a:lnTo>
                <a:cubicBezTo>
                  <a:pt x="3591497" y="0"/>
                  <a:pt x="3677755" y="86258"/>
                  <a:pt x="3677755" y="192663"/>
                </a:cubicBezTo>
                <a:lnTo>
                  <a:pt x="3677755" y="963293"/>
                </a:lnTo>
                <a:cubicBezTo>
                  <a:pt x="3677755" y="1069698"/>
                  <a:pt x="3591497" y="1155956"/>
                  <a:pt x="3485092" y="1155956"/>
                </a:cubicBezTo>
                <a:lnTo>
                  <a:pt x="192663" y="1155956"/>
                </a:lnTo>
                <a:cubicBezTo>
                  <a:pt x="86258" y="1155956"/>
                  <a:pt x="0" y="1069698"/>
                  <a:pt x="0" y="963293"/>
                </a:cubicBezTo>
                <a:lnTo>
                  <a:pt x="0" y="192663"/>
                </a:lnTo>
                <a:close/>
              </a:path>
            </a:pathLst>
          </a:custGeom>
          <a:solidFill>
            <a:sysClr val="window" lastClr="FFFFFF"/>
          </a:solidFill>
          <a:ln w="10795" cap="flat" cmpd="sng" algn="ctr">
            <a:noFill/>
            <a:prstDash val="solid"/>
          </a:ln>
          <a:effectLst/>
        </p:spPr>
        <p:txBody>
          <a:bodyPr spcFirstLastPara="0" vert="horz" wrap="square" lIns="121199" tIns="121199" rIns="121199" bIns="121199" numCol="1" spcCol="1270" anchor="ctr" anchorCtr="0">
            <a:noAutofit/>
          </a:bodyPr>
          <a:lstStyle/>
          <a:p>
            <a:pPr marL="0" marR="0" lvl="0" indent="0" defTabSz="755650" eaLnBrk="1" fontAlgn="auto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Roboto Regular"/>
              </a:rPr>
              <a:t>  повысить показатель 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Roboto Regular"/>
              </a:rPr>
              <a:t>вовлеченности жителей, </a:t>
            </a:r>
            <a:b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Roboto Regular"/>
              </a:rPr>
            </a:b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Roboto Regular"/>
              </a:rPr>
              <a:t>в том числе проживающих </a:t>
            </a: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Roboto Regular"/>
              </a:rPr>
              <a:t>в 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Roboto Regular"/>
              </a:rPr>
              <a:t>удаленных и труднодоступных населенных пунктах, в заботу о своем здоровье </a:t>
            </a:r>
          </a:p>
        </p:txBody>
      </p:sp>
      <p:sp>
        <p:nvSpPr>
          <p:cNvPr id="9" name="Полилиния 8"/>
          <p:cNvSpPr/>
          <p:nvPr/>
        </p:nvSpPr>
        <p:spPr>
          <a:xfrm>
            <a:off x="3906643" y="3017077"/>
            <a:ext cx="7536762" cy="548410"/>
          </a:xfrm>
          <a:custGeom>
            <a:avLst/>
            <a:gdLst>
              <a:gd name="connsiteX0" fmla="*/ 0 w 3677755"/>
              <a:gd name="connsiteY0" fmla="*/ 192663 h 1155956"/>
              <a:gd name="connsiteX1" fmla="*/ 192663 w 3677755"/>
              <a:gd name="connsiteY1" fmla="*/ 0 h 1155956"/>
              <a:gd name="connsiteX2" fmla="*/ 3485092 w 3677755"/>
              <a:gd name="connsiteY2" fmla="*/ 0 h 1155956"/>
              <a:gd name="connsiteX3" fmla="*/ 3677755 w 3677755"/>
              <a:gd name="connsiteY3" fmla="*/ 192663 h 1155956"/>
              <a:gd name="connsiteX4" fmla="*/ 3677755 w 3677755"/>
              <a:gd name="connsiteY4" fmla="*/ 963293 h 1155956"/>
              <a:gd name="connsiteX5" fmla="*/ 3485092 w 3677755"/>
              <a:gd name="connsiteY5" fmla="*/ 1155956 h 1155956"/>
              <a:gd name="connsiteX6" fmla="*/ 192663 w 3677755"/>
              <a:gd name="connsiteY6" fmla="*/ 1155956 h 1155956"/>
              <a:gd name="connsiteX7" fmla="*/ 0 w 3677755"/>
              <a:gd name="connsiteY7" fmla="*/ 963293 h 1155956"/>
              <a:gd name="connsiteX8" fmla="*/ 0 w 3677755"/>
              <a:gd name="connsiteY8" fmla="*/ 192663 h 1155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677755" h="1155956">
                <a:moveTo>
                  <a:pt x="0" y="192663"/>
                </a:moveTo>
                <a:cubicBezTo>
                  <a:pt x="0" y="86258"/>
                  <a:pt x="86258" y="0"/>
                  <a:pt x="192663" y="0"/>
                </a:cubicBezTo>
                <a:lnTo>
                  <a:pt x="3485092" y="0"/>
                </a:lnTo>
                <a:cubicBezTo>
                  <a:pt x="3591497" y="0"/>
                  <a:pt x="3677755" y="86258"/>
                  <a:pt x="3677755" y="192663"/>
                </a:cubicBezTo>
                <a:lnTo>
                  <a:pt x="3677755" y="963293"/>
                </a:lnTo>
                <a:cubicBezTo>
                  <a:pt x="3677755" y="1069698"/>
                  <a:pt x="3591497" y="1155956"/>
                  <a:pt x="3485092" y="1155956"/>
                </a:cubicBezTo>
                <a:lnTo>
                  <a:pt x="192663" y="1155956"/>
                </a:lnTo>
                <a:cubicBezTo>
                  <a:pt x="86258" y="1155956"/>
                  <a:pt x="0" y="1069698"/>
                  <a:pt x="0" y="963293"/>
                </a:cubicBezTo>
                <a:lnTo>
                  <a:pt x="0" y="192663"/>
                </a:lnTo>
                <a:close/>
              </a:path>
            </a:pathLst>
          </a:custGeom>
          <a:solidFill>
            <a:sysClr val="window" lastClr="FFFFFF"/>
          </a:solidFill>
          <a:ln w="10795" cap="flat" cmpd="sng" algn="ctr">
            <a:noFill/>
            <a:prstDash val="solid"/>
          </a:ln>
          <a:effectLst/>
        </p:spPr>
        <p:txBody>
          <a:bodyPr spcFirstLastPara="0" vert="horz" wrap="square" lIns="121199" tIns="121199" rIns="121199" bIns="121199" numCol="1" spcCol="1270" anchor="ctr" anchorCtr="0">
            <a:noAutofit/>
          </a:bodyPr>
          <a:lstStyle/>
          <a:p>
            <a:pPr marL="0" marR="0" lvl="0" indent="0" defTabSz="755650" eaLnBrk="1" fontAlgn="auto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Roboto Regular"/>
              </a:rPr>
              <a:t> обеспечить охват всех граждан профилактическими медицинскими  осмотрами и диспансеризацией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Roboto Regular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3906643" y="3657931"/>
            <a:ext cx="801587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 </a:t>
            </a:r>
            <a:r>
              <a:rPr lang="ru-RU" sz="1400" kern="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высвободить</a:t>
            </a: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время медицинских работников на 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-ом этапе</a:t>
            </a:r>
            <a:r>
              <a:rPr kumimoji="0" lang="ru-RU" sz="1400" b="0" i="0" u="none" strike="noStrike" kern="0" cap="none" spc="0" normalizeH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диспансеризации. </a:t>
            </a:r>
            <a:endParaRPr kumimoji="0" lang="ru-RU" sz="1400" b="0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3906643" y="4089227"/>
            <a:ext cx="81277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4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 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с</a:t>
            </a:r>
            <a:r>
              <a:rPr lang="ru-RU" sz="14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обствовать 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стижению общей цели национальных проектов «Здравоохранение» и «Демография»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3906643" y="4716417"/>
            <a:ext cx="812777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 </a:t>
            </a:r>
            <a:r>
              <a:rPr kumimoji="0" lang="ru-RU" sz="140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оценить удовлетворённость </a:t>
            </a: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населения качеством медицинской помощи</a:t>
            </a:r>
            <a:endParaRPr kumimoji="0" lang="ru-RU" sz="1400" b="0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3906643" y="5128164"/>
            <a:ext cx="81277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400" dirty="0">
                <a:solidFill>
                  <a:srgbClr val="44546A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 </a:t>
            </a:r>
            <a:r>
              <a:rPr kumimoji="0" lang="ru-RU" sz="140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оценить осведомленность </a:t>
            </a: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населения о доступности медицинских услуг, графике вакцинации, работе выездных специалистов и </a:t>
            </a:r>
            <a:r>
              <a:rPr kumimoji="0" lang="ru-RU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т.п</a:t>
            </a:r>
            <a:endParaRPr kumimoji="0" lang="ru-RU" sz="1400" b="0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3813717" y="5790801"/>
            <a:ext cx="81277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400" dirty="0">
                <a:solidFill>
                  <a:srgbClr val="44546A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 </a:t>
            </a:r>
            <a:r>
              <a:rPr kumimoji="0" lang="ru-RU" sz="1400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изучить информированность населения о реализации национальных и региональных программ</a:t>
            </a:r>
            <a:endParaRPr kumimoji="0" lang="ru-RU" sz="1400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6468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Z_24UIcS.c6ZW7jGewX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J8VTfjQDmIaY8kaULjQ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EE4P_MASTERWIZARD" val="TitleAndEndImages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RNs4PqQM6vaBD2kunMH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jsrCPBTeKACg2YaFtet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3348</TotalTime>
  <Words>1053</Words>
  <Application>Microsoft Office PowerPoint</Application>
  <PresentationFormat>Широкоэкранный</PresentationFormat>
  <Paragraphs>147</Paragraphs>
  <Slides>13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3</vt:i4>
      </vt:variant>
    </vt:vector>
  </HeadingPairs>
  <TitlesOfParts>
    <vt:vector size="25" baseType="lpstr">
      <vt:lpstr>Arial</vt:lpstr>
      <vt:lpstr>Calibri</vt:lpstr>
      <vt:lpstr>Calibri Light</vt:lpstr>
      <vt:lpstr>Roboto</vt:lpstr>
      <vt:lpstr>Roboto Bold</vt:lpstr>
      <vt:lpstr>Roboto Regular</vt:lpstr>
      <vt:lpstr>Times New Roman</vt:lpstr>
      <vt:lpstr>Trebuchet MS</vt:lpstr>
      <vt:lpstr>Wingdings</vt:lpstr>
      <vt:lpstr>Тема Office</vt:lpstr>
      <vt:lpstr>Слайд think-cell</vt:lpstr>
      <vt:lpstr>think-cell Slide</vt:lpstr>
      <vt:lpstr>Опросы - сбор первичной информации о целевой аудитории </vt:lpstr>
      <vt:lpstr>Презентация PowerPoint</vt:lpstr>
      <vt:lpstr>Варианты проведения опросов</vt:lpstr>
      <vt:lpstr>Этапы проведения опроса</vt:lpstr>
      <vt:lpstr>Процесс анкетирования в электронном виде и на бумажном  носителе</vt:lpstr>
      <vt:lpstr>Анкетирование на мобильном устройстве  (с передачей онлайн)</vt:lpstr>
      <vt:lpstr>Оформление и контроль опросов в личном кабинете заказчика</vt:lpstr>
      <vt:lpstr>Возможные сегменты целевой аудитории </vt:lpstr>
      <vt:lpstr>Презентация PowerPoint</vt:lpstr>
      <vt:lpstr>Презентация PowerPoint</vt:lpstr>
      <vt:lpstr>Презентация PowerPoint</vt:lpstr>
      <vt:lpstr>Конкурентоспособные тарифы</vt:lpstr>
      <vt:lpstr>Спасибо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клизков Владислав Олегович</dc:creator>
  <cp:lastModifiedBy>Юркина Наталья Алексеевна</cp:lastModifiedBy>
  <cp:revision>433</cp:revision>
  <cp:lastPrinted>2021-02-09T10:50:04Z</cp:lastPrinted>
  <dcterms:created xsi:type="dcterms:W3CDTF">2020-05-14T10:59:08Z</dcterms:created>
  <dcterms:modified xsi:type="dcterms:W3CDTF">2021-03-26T03:35:53Z</dcterms:modified>
</cp:coreProperties>
</file>